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66" r:id="rId3"/>
    <p:sldId id="258" r:id="rId4"/>
    <p:sldId id="267" r:id="rId5"/>
    <p:sldId id="268" r:id="rId6"/>
    <p:sldId id="269" r:id="rId7"/>
    <p:sldId id="263" r:id="rId8"/>
    <p:sldId id="270" r:id="rId9"/>
    <p:sldId id="271" r:id="rId10"/>
    <p:sldId id="272" r:id="rId11"/>
    <p:sldId id="264" r:id="rId12"/>
    <p:sldId id="273" r:id="rId13"/>
    <p:sldId id="274" r:id="rId14"/>
    <p:sldId id="275" r:id="rId15"/>
    <p:sldId id="265" r:id="rId16"/>
    <p:sldId id="276" r:id="rId17"/>
    <p:sldId id="277" r:id="rId18"/>
    <p:sldId id="261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6596"/>
    <a:srgbClr val="CC00FF"/>
    <a:srgbClr val="000000"/>
    <a:srgbClr val="631F58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58" d="100"/>
          <a:sy n="58" d="100"/>
        </p:scale>
        <p:origin x="988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leil Yi" userId="c719b956-004a-4243-81dc-14be649b7814" providerId="ADAL" clId="{8AC712F2-D9BF-45B1-AAA7-8FFBB5038793}"/>
    <pc:docChg chg="custSel modSld">
      <pc:chgData name="Soleil Yi" userId="c719b956-004a-4243-81dc-14be649b7814" providerId="ADAL" clId="{8AC712F2-D9BF-45B1-AAA7-8FFBB5038793}" dt="2022-09-14T02:20:47.635" v="20" actId="20577"/>
      <pc:docMkLst>
        <pc:docMk/>
      </pc:docMkLst>
      <pc:sldChg chg="modSp mod">
        <pc:chgData name="Soleil Yi" userId="c719b956-004a-4243-81dc-14be649b7814" providerId="ADAL" clId="{8AC712F2-D9BF-45B1-AAA7-8FFBB5038793}" dt="2022-09-14T02:20:47.635" v="20" actId="20577"/>
        <pc:sldMkLst>
          <pc:docMk/>
          <pc:sldMk cId="2271741893" sldId="256"/>
        </pc:sldMkLst>
        <pc:spChg chg="mod">
          <ac:chgData name="Soleil Yi" userId="c719b956-004a-4243-81dc-14be649b7814" providerId="ADAL" clId="{8AC712F2-D9BF-45B1-AAA7-8FFBB5038793}" dt="2022-09-14T02:20:41.111" v="10" actId="27636"/>
          <ac:spMkLst>
            <pc:docMk/>
            <pc:sldMk cId="2271741893" sldId="256"/>
            <ac:spMk id="5" creationId="{00000000-0000-0000-0000-000000000000}"/>
          </ac:spMkLst>
        </pc:spChg>
        <pc:spChg chg="mod">
          <ac:chgData name="Soleil Yi" userId="c719b956-004a-4243-81dc-14be649b7814" providerId="ADAL" clId="{8AC712F2-D9BF-45B1-AAA7-8FFBB5038793}" dt="2022-09-14T02:20:47.635" v="20" actId="20577"/>
          <ac:spMkLst>
            <pc:docMk/>
            <pc:sldMk cId="2271741893" sldId="256"/>
            <ac:spMk id="6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9363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44592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70593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6027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32409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5963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76A228E4-10FA-476E-A42A-542E2BC98DF7}"/>
              </a:ext>
            </a:extLst>
          </p:cNvPr>
          <p:cNvSpPr/>
          <p:nvPr userDrawn="1"/>
        </p:nvSpPr>
        <p:spPr>
          <a:xfrm>
            <a:off x="0" y="0"/>
            <a:ext cx="12192000" cy="68855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3402FF7-9170-4E33-8C98-B2784A0F5A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71"/>
            <a:ext cx="12192000" cy="2379391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1E67EA0-9197-458F-94C6-A2AA9E3718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4033"/>
            <a:ext cx="12192000" cy="4187728"/>
          </a:xfrm>
          <a:prstGeom prst="rect">
            <a:avLst/>
          </a:prstGeom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D5BBADFA-BE31-4706-8C13-A37379EA4BAA}"/>
              </a:ext>
            </a:extLst>
          </p:cNvPr>
          <p:cNvSpPr/>
          <p:nvPr userDrawn="1"/>
        </p:nvSpPr>
        <p:spPr>
          <a:xfrm>
            <a:off x="-1" y="0"/>
            <a:ext cx="12192000" cy="6885521"/>
          </a:xfrm>
          <a:prstGeom prst="rect">
            <a:avLst/>
          </a:prstGeom>
          <a:gradFill>
            <a:gsLst>
              <a:gs pos="20000">
                <a:srgbClr val="000000"/>
              </a:gs>
              <a:gs pos="0">
                <a:srgbClr val="000000">
                  <a:alpha val="52000"/>
                </a:srgbClr>
              </a:gs>
              <a:gs pos="62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139159" y="3292627"/>
            <a:ext cx="1913680" cy="492296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2041379"/>
            <a:ext cx="10845800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48851" y="4210152"/>
            <a:ext cx="309429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48851" y="4506423"/>
            <a:ext cx="309429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DD9D5DBB-FCAD-484B-9820-1A355DAA8469}"/>
              </a:ext>
            </a:extLst>
          </p:cNvPr>
          <p:cNvSpPr/>
          <p:nvPr userDrawn="1"/>
        </p:nvSpPr>
        <p:spPr>
          <a:xfrm>
            <a:off x="0" y="0"/>
            <a:ext cx="12192000" cy="68855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155F7D24-A420-4CC0-B4D3-777AA749B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90913"/>
            <a:ext cx="12192000" cy="4187728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CBB40B30-4235-4F6C-B146-54E0B3738177}"/>
              </a:ext>
            </a:extLst>
          </p:cNvPr>
          <p:cNvSpPr/>
          <p:nvPr userDrawn="1"/>
        </p:nvSpPr>
        <p:spPr>
          <a:xfrm>
            <a:off x="0" y="0"/>
            <a:ext cx="12192000" cy="6885521"/>
          </a:xfrm>
          <a:prstGeom prst="rect">
            <a:avLst/>
          </a:prstGeom>
          <a:gradFill>
            <a:gsLst>
              <a:gs pos="20000">
                <a:srgbClr val="000000"/>
              </a:gs>
              <a:gs pos="0">
                <a:srgbClr val="000000">
                  <a:alpha val="52000"/>
                </a:srgbClr>
              </a:gs>
              <a:gs pos="70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465412" y="2817586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466528" y="3712936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129DC5DF-E683-42AA-B0F6-7AC19F30F68E}"/>
              </a:ext>
            </a:extLst>
          </p:cNvPr>
          <p:cNvSpPr/>
          <p:nvPr userDrawn="1"/>
        </p:nvSpPr>
        <p:spPr>
          <a:xfrm>
            <a:off x="0" y="0"/>
            <a:ext cx="12192000" cy="68855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8D0E1C17-FAB7-44E3-8737-C77D6254CC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71"/>
            <a:ext cx="12192000" cy="2379391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17C9B180-2591-4EDD-B082-BFF58EF359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4033"/>
            <a:ext cx="12192000" cy="4187728"/>
          </a:xfrm>
          <a:prstGeom prst="rect">
            <a:avLst/>
          </a:prstGeom>
        </p:spPr>
      </p:pic>
      <p:sp>
        <p:nvSpPr>
          <p:cNvPr id="16" name="矩形 15">
            <a:extLst>
              <a:ext uri="{FF2B5EF4-FFF2-40B4-BE49-F238E27FC236}">
                <a16:creationId xmlns:a16="http://schemas.microsoft.com/office/drawing/2014/main" id="{C61E27CD-CF73-4C58-9BE5-7725F8C2CABB}"/>
              </a:ext>
            </a:extLst>
          </p:cNvPr>
          <p:cNvSpPr/>
          <p:nvPr userDrawn="1"/>
        </p:nvSpPr>
        <p:spPr>
          <a:xfrm>
            <a:off x="-1" y="0"/>
            <a:ext cx="12192000" cy="6885521"/>
          </a:xfrm>
          <a:prstGeom prst="rect">
            <a:avLst/>
          </a:prstGeom>
          <a:gradFill>
            <a:gsLst>
              <a:gs pos="20000">
                <a:srgbClr val="000000"/>
              </a:gs>
              <a:gs pos="0">
                <a:srgbClr val="000000">
                  <a:alpha val="52000"/>
                </a:srgbClr>
              </a:gs>
              <a:gs pos="62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807491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113727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817456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5069711" y="3334045"/>
            <a:ext cx="2052576" cy="446088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0"/>
          </a:gradFill>
        </p:spPr>
        <p:txBody>
          <a:bodyPr>
            <a:normAutofit fontScale="85000" lnSpcReduction="10000"/>
          </a:bodyPr>
          <a:lstStyle/>
          <a:p>
            <a:pPr algn="ctr"/>
            <a:r>
              <a:rPr lang="zh-CN" altLang="en-US" dirty="0"/>
              <a:t>答辩人：</a:t>
            </a:r>
            <a:r>
              <a:rPr lang="en-US" altLang="zh-CN" dirty="0" err="1"/>
              <a:t>OfficePLUS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3099" y="1202940"/>
            <a:ext cx="10845800" cy="1874928"/>
          </a:xfrm>
        </p:spPr>
        <p:txBody>
          <a:bodyPr>
            <a:normAutofit/>
          </a:bodyPr>
          <a:lstStyle/>
          <a:p>
            <a:r>
              <a:rPr lang="zh-CN" altLang="en-US" sz="5400" dirty="0"/>
              <a:t>互联网宽带接入技术</a:t>
            </a:r>
            <a:br>
              <a:rPr lang="en-US" altLang="zh-CN" sz="5400" dirty="0"/>
            </a:br>
            <a:r>
              <a:rPr lang="zh-CN" altLang="en-US" sz="5400" dirty="0"/>
              <a:t>及其工程实践研究</a:t>
            </a:r>
            <a:endParaRPr lang="zh-CN" altLang="en-US" sz="5400" b="0" spc="10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73099" y="4153492"/>
            <a:ext cx="10845800" cy="296271"/>
          </a:xfrm>
        </p:spPr>
        <p:txBody>
          <a:bodyPr/>
          <a:lstStyle/>
          <a:p>
            <a:pPr algn="ctr"/>
            <a:r>
              <a:rPr lang="zh-CN" altLang="en-US" dirty="0"/>
              <a:t>导师：</a:t>
            </a:r>
            <a:r>
              <a:rPr lang="en-US" altLang="zh-CN" dirty="0" err="1"/>
              <a:t>OfficePLUS</a:t>
            </a:r>
            <a:endParaRPr lang="en-US" altLang="zh-CN" dirty="0">
              <a:solidFill>
                <a:schemeClr val="tx2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73099" y="4449763"/>
            <a:ext cx="10845800" cy="296271"/>
          </a:xfrm>
        </p:spPr>
        <p:txBody>
          <a:bodyPr/>
          <a:lstStyle/>
          <a:p>
            <a:pPr algn="ctr"/>
            <a:r>
              <a:rPr lang="en-US" altLang="zh-CN" dirty="0">
                <a:solidFill>
                  <a:schemeClr val="tx2"/>
                </a:solidFill>
              </a:rPr>
              <a:t>XXX</a:t>
            </a:r>
            <a:r>
              <a:rPr lang="zh-CN" altLang="en-US" dirty="0">
                <a:solidFill>
                  <a:schemeClr val="tx2"/>
                </a:solidFill>
              </a:rPr>
              <a:t>学院</a:t>
            </a:r>
            <a:r>
              <a:rPr lang="en-US" altLang="zh-CN" dirty="0">
                <a:solidFill>
                  <a:schemeClr val="tx2"/>
                </a:solidFill>
              </a:rPr>
              <a:t>XXX</a:t>
            </a:r>
            <a:r>
              <a:rPr lang="zh-CN" altLang="en-US" dirty="0">
                <a:solidFill>
                  <a:schemeClr val="tx2"/>
                </a:solidFill>
              </a:rPr>
              <a:t>专业</a:t>
            </a:r>
            <a:endParaRPr lang="en-US" alt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综述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870216" y="1466810"/>
            <a:ext cx="10451568" cy="4414974"/>
            <a:chOff x="870216" y="1466810"/>
            <a:chExt cx="10451568" cy="4414974"/>
          </a:xfrm>
        </p:grpSpPr>
        <p:sp>
          <p:nvSpPr>
            <p:cNvPr id="6" name="对话气泡: 矩形 5">
              <a:extLst>
                <a:ext uri="{FF2B5EF4-FFF2-40B4-BE49-F238E27FC236}">
                  <a16:creationId xmlns:a16="http://schemas.microsoft.com/office/drawing/2014/main" id="{E59C9814-B900-4754-B42B-89A26F478CA6}"/>
                </a:ext>
              </a:extLst>
            </p:cNvPr>
            <p:cNvSpPr/>
            <p:nvPr/>
          </p:nvSpPr>
          <p:spPr>
            <a:xfrm>
              <a:off x="3863244" y="1695852"/>
              <a:ext cx="1429179" cy="571702"/>
            </a:xfrm>
            <a:prstGeom prst="wedgeRectCallout">
              <a:avLst>
                <a:gd name="adj1" fmla="val -37567"/>
                <a:gd name="adj2" fmla="val 78827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r>
                <a:rPr lang="en-US" altLang="zh-HK" sz="1600">
                  <a:solidFill>
                    <a:schemeClr val="bg1"/>
                  </a:solidFill>
                </a:rPr>
                <a:t>+25% </a:t>
              </a:r>
              <a:r>
                <a:rPr lang="en-US" altLang="zh-CN" sz="1600">
                  <a:solidFill>
                    <a:schemeClr val="bg1"/>
                  </a:solidFill>
                </a:rPr>
                <a:t>| T</a:t>
              </a:r>
              <a:r>
                <a:rPr lang="en-US" altLang="zh-CN" sz="100">
                  <a:solidFill>
                    <a:schemeClr val="bg1"/>
                  </a:solidFill>
                </a:rPr>
                <a:t> </a:t>
              </a:r>
              <a:r>
                <a:rPr lang="en-US" altLang="zh-CN" sz="1600">
                  <a:solidFill>
                    <a:schemeClr val="bg1"/>
                  </a:solidFill>
                </a:rPr>
                <a:t>ext</a:t>
              </a:r>
              <a:endParaRPr lang="en-US" altLang="zh-HK" sz="1600">
                <a:solidFill>
                  <a:schemeClr val="bg1"/>
                </a:solidFill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02855033-B93A-4987-BFED-CE18713E5F2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20700000">
              <a:off x="1999400" y="2724999"/>
              <a:ext cx="2417281" cy="655591"/>
              <a:chOff x="638" y="1651"/>
              <a:chExt cx="2098" cy="569"/>
            </a:xfrm>
          </p:grpSpPr>
          <p:sp>
            <p:nvSpPr>
              <p:cNvPr id="53" name="矩形 52">
                <a:extLst>
                  <a:ext uri="{FF2B5EF4-FFF2-40B4-BE49-F238E27FC236}">
                    <a16:creationId xmlns:a16="http://schemas.microsoft.com/office/drawing/2014/main" id="{C5BDD8AE-DEE0-4C0B-B9EF-885E0005631A}"/>
                  </a:ext>
                </a:extLst>
              </p:cNvPr>
              <p:cNvSpPr/>
              <p:nvPr/>
            </p:nvSpPr>
            <p:spPr bwMode="auto">
              <a:xfrm>
                <a:off x="638" y="1651"/>
                <a:ext cx="2098" cy="5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0B69657A-E35D-45FA-AA67-08EE5E21F97A}"/>
                  </a:ext>
                </a:extLst>
              </p:cNvPr>
              <p:cNvSpPr/>
              <p:nvPr/>
            </p:nvSpPr>
            <p:spPr bwMode="auto">
              <a:xfrm>
                <a:off x="640" y="1651"/>
                <a:ext cx="2094" cy="569"/>
              </a:xfrm>
              <a:custGeom>
                <a:avLst/>
                <a:gdLst>
                  <a:gd name="T0" fmla="*/ 765 w 886"/>
                  <a:gd name="T1" fmla="*/ 0 h 241"/>
                  <a:gd name="T2" fmla="*/ 699 w 886"/>
                  <a:gd name="T3" fmla="*/ 19 h 241"/>
                  <a:gd name="T4" fmla="*/ 697 w 886"/>
                  <a:gd name="T5" fmla="*/ 21 h 241"/>
                  <a:gd name="T6" fmla="*/ 443 w 886"/>
                  <a:gd name="T7" fmla="*/ 94 h 241"/>
                  <a:gd name="T8" fmla="*/ 189 w 886"/>
                  <a:gd name="T9" fmla="*/ 21 h 241"/>
                  <a:gd name="T10" fmla="*/ 187 w 886"/>
                  <a:gd name="T11" fmla="*/ 20 h 241"/>
                  <a:gd name="T12" fmla="*/ 121 w 886"/>
                  <a:gd name="T13" fmla="*/ 0 h 241"/>
                  <a:gd name="T14" fmla="*/ 0 w 886"/>
                  <a:gd name="T15" fmla="*/ 120 h 241"/>
                  <a:gd name="T16" fmla="*/ 0 w 886"/>
                  <a:gd name="T17" fmla="*/ 120 h 241"/>
                  <a:gd name="T18" fmla="*/ 121 w 886"/>
                  <a:gd name="T19" fmla="*/ 241 h 241"/>
                  <a:gd name="T20" fmla="*/ 187 w 886"/>
                  <a:gd name="T21" fmla="*/ 221 h 241"/>
                  <a:gd name="T22" fmla="*/ 189 w 886"/>
                  <a:gd name="T23" fmla="*/ 220 h 241"/>
                  <a:gd name="T24" fmla="*/ 443 w 886"/>
                  <a:gd name="T25" fmla="*/ 146 h 241"/>
                  <a:gd name="T26" fmla="*/ 697 w 886"/>
                  <a:gd name="T27" fmla="*/ 220 h 241"/>
                  <a:gd name="T28" fmla="*/ 699 w 886"/>
                  <a:gd name="T29" fmla="*/ 221 h 241"/>
                  <a:gd name="T30" fmla="*/ 765 w 886"/>
                  <a:gd name="T31" fmla="*/ 241 h 241"/>
                  <a:gd name="T32" fmla="*/ 886 w 886"/>
                  <a:gd name="T33" fmla="*/ 120 h 241"/>
                  <a:gd name="T34" fmla="*/ 765 w 886"/>
                  <a:gd name="T3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6" h="241">
                    <a:moveTo>
                      <a:pt x="765" y="0"/>
                    </a:moveTo>
                    <a:cubicBezTo>
                      <a:pt x="741" y="0"/>
                      <a:pt x="718" y="7"/>
                      <a:pt x="699" y="19"/>
                    </a:cubicBezTo>
                    <a:cubicBezTo>
                      <a:pt x="699" y="20"/>
                      <a:pt x="698" y="20"/>
                      <a:pt x="697" y="21"/>
                    </a:cubicBezTo>
                    <a:cubicBezTo>
                      <a:pt x="624" y="67"/>
                      <a:pt x="537" y="94"/>
                      <a:pt x="443" y="94"/>
                    </a:cubicBezTo>
                    <a:cubicBezTo>
                      <a:pt x="349" y="94"/>
                      <a:pt x="262" y="67"/>
                      <a:pt x="189" y="21"/>
                    </a:cubicBezTo>
                    <a:cubicBezTo>
                      <a:pt x="188" y="20"/>
                      <a:pt x="188" y="20"/>
                      <a:pt x="187" y="20"/>
                    </a:cubicBezTo>
                    <a:cubicBezTo>
                      <a:pt x="168" y="7"/>
                      <a:pt x="145" y="0"/>
                      <a:pt x="121" y="0"/>
                    </a:cubicBezTo>
                    <a:cubicBezTo>
                      <a:pt x="54" y="0"/>
                      <a:pt x="0" y="54"/>
                      <a:pt x="0" y="120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87"/>
                      <a:pt x="54" y="241"/>
                      <a:pt x="121" y="241"/>
                    </a:cubicBezTo>
                    <a:cubicBezTo>
                      <a:pt x="145" y="241"/>
                      <a:pt x="168" y="233"/>
                      <a:pt x="187" y="221"/>
                    </a:cubicBezTo>
                    <a:cubicBezTo>
                      <a:pt x="187" y="220"/>
                      <a:pt x="188" y="220"/>
                      <a:pt x="189" y="220"/>
                    </a:cubicBezTo>
                    <a:cubicBezTo>
                      <a:pt x="262" y="173"/>
                      <a:pt x="349" y="146"/>
                      <a:pt x="443" y="146"/>
                    </a:cubicBezTo>
                    <a:cubicBezTo>
                      <a:pt x="537" y="146"/>
                      <a:pt x="624" y="173"/>
                      <a:pt x="697" y="220"/>
                    </a:cubicBezTo>
                    <a:cubicBezTo>
                      <a:pt x="698" y="220"/>
                      <a:pt x="698" y="220"/>
                      <a:pt x="699" y="221"/>
                    </a:cubicBezTo>
                    <a:cubicBezTo>
                      <a:pt x="718" y="233"/>
                      <a:pt x="741" y="241"/>
                      <a:pt x="765" y="241"/>
                    </a:cubicBezTo>
                    <a:cubicBezTo>
                      <a:pt x="832" y="241"/>
                      <a:pt x="886" y="187"/>
                      <a:pt x="886" y="120"/>
                    </a:cubicBezTo>
                    <a:cubicBezTo>
                      <a:pt x="886" y="54"/>
                      <a:pt x="832" y="0"/>
                      <a:pt x="76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椭圆 54">
                <a:extLst>
                  <a:ext uri="{FF2B5EF4-FFF2-40B4-BE49-F238E27FC236}">
                    <a16:creationId xmlns:a16="http://schemas.microsoft.com/office/drawing/2014/main" id="{3C93F842-4F57-4CDB-827F-6E344BB58EDE}"/>
                  </a:ext>
                </a:extLst>
              </p:cNvPr>
              <p:cNvSpPr/>
              <p:nvPr/>
            </p:nvSpPr>
            <p:spPr bwMode="auto">
              <a:xfrm>
                <a:off x="676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椭圆 55">
                <a:extLst>
                  <a:ext uri="{FF2B5EF4-FFF2-40B4-BE49-F238E27FC236}">
                    <a16:creationId xmlns:a16="http://schemas.microsoft.com/office/drawing/2014/main" id="{3FE95124-A1E4-4C0B-9476-0A7B8F5EB463}"/>
                  </a:ext>
                </a:extLst>
              </p:cNvPr>
              <p:cNvSpPr/>
              <p:nvPr/>
            </p:nvSpPr>
            <p:spPr bwMode="auto">
              <a:xfrm>
                <a:off x="2200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4FE39275-B700-4BB0-8D97-DB842121936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1800000">
              <a:off x="3609524" y="2937576"/>
              <a:ext cx="2417281" cy="655591"/>
              <a:chOff x="638" y="1651"/>
              <a:chExt cx="2098" cy="569"/>
            </a:xfrm>
          </p:grpSpPr>
          <p:sp>
            <p:nvSpPr>
              <p:cNvPr id="49" name="矩形 48">
                <a:extLst>
                  <a:ext uri="{FF2B5EF4-FFF2-40B4-BE49-F238E27FC236}">
                    <a16:creationId xmlns:a16="http://schemas.microsoft.com/office/drawing/2014/main" id="{849AEC48-D445-4C3D-AF9F-C854E99D5C22}"/>
                  </a:ext>
                </a:extLst>
              </p:cNvPr>
              <p:cNvSpPr/>
              <p:nvPr/>
            </p:nvSpPr>
            <p:spPr bwMode="auto">
              <a:xfrm>
                <a:off x="638" y="1651"/>
                <a:ext cx="2098" cy="5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895F9200-0A05-43B8-A5A3-4BD668C3AB78}"/>
                  </a:ext>
                </a:extLst>
              </p:cNvPr>
              <p:cNvSpPr/>
              <p:nvPr/>
            </p:nvSpPr>
            <p:spPr bwMode="auto">
              <a:xfrm>
                <a:off x="640" y="1651"/>
                <a:ext cx="2094" cy="569"/>
              </a:xfrm>
              <a:custGeom>
                <a:avLst/>
                <a:gdLst>
                  <a:gd name="T0" fmla="*/ 765 w 886"/>
                  <a:gd name="T1" fmla="*/ 0 h 241"/>
                  <a:gd name="T2" fmla="*/ 699 w 886"/>
                  <a:gd name="T3" fmla="*/ 19 h 241"/>
                  <a:gd name="T4" fmla="*/ 697 w 886"/>
                  <a:gd name="T5" fmla="*/ 21 h 241"/>
                  <a:gd name="T6" fmla="*/ 443 w 886"/>
                  <a:gd name="T7" fmla="*/ 94 h 241"/>
                  <a:gd name="T8" fmla="*/ 189 w 886"/>
                  <a:gd name="T9" fmla="*/ 21 h 241"/>
                  <a:gd name="T10" fmla="*/ 187 w 886"/>
                  <a:gd name="T11" fmla="*/ 20 h 241"/>
                  <a:gd name="T12" fmla="*/ 121 w 886"/>
                  <a:gd name="T13" fmla="*/ 0 h 241"/>
                  <a:gd name="T14" fmla="*/ 0 w 886"/>
                  <a:gd name="T15" fmla="*/ 120 h 241"/>
                  <a:gd name="T16" fmla="*/ 0 w 886"/>
                  <a:gd name="T17" fmla="*/ 120 h 241"/>
                  <a:gd name="T18" fmla="*/ 121 w 886"/>
                  <a:gd name="T19" fmla="*/ 241 h 241"/>
                  <a:gd name="T20" fmla="*/ 187 w 886"/>
                  <a:gd name="T21" fmla="*/ 221 h 241"/>
                  <a:gd name="T22" fmla="*/ 189 w 886"/>
                  <a:gd name="T23" fmla="*/ 220 h 241"/>
                  <a:gd name="T24" fmla="*/ 443 w 886"/>
                  <a:gd name="T25" fmla="*/ 146 h 241"/>
                  <a:gd name="T26" fmla="*/ 697 w 886"/>
                  <a:gd name="T27" fmla="*/ 220 h 241"/>
                  <a:gd name="T28" fmla="*/ 699 w 886"/>
                  <a:gd name="T29" fmla="*/ 221 h 241"/>
                  <a:gd name="T30" fmla="*/ 765 w 886"/>
                  <a:gd name="T31" fmla="*/ 241 h 241"/>
                  <a:gd name="T32" fmla="*/ 886 w 886"/>
                  <a:gd name="T33" fmla="*/ 120 h 241"/>
                  <a:gd name="T34" fmla="*/ 765 w 886"/>
                  <a:gd name="T3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6" h="241">
                    <a:moveTo>
                      <a:pt x="765" y="0"/>
                    </a:moveTo>
                    <a:cubicBezTo>
                      <a:pt x="741" y="0"/>
                      <a:pt x="718" y="7"/>
                      <a:pt x="699" y="19"/>
                    </a:cubicBezTo>
                    <a:cubicBezTo>
                      <a:pt x="699" y="20"/>
                      <a:pt x="698" y="20"/>
                      <a:pt x="697" y="21"/>
                    </a:cubicBezTo>
                    <a:cubicBezTo>
                      <a:pt x="624" y="67"/>
                      <a:pt x="537" y="94"/>
                      <a:pt x="443" y="94"/>
                    </a:cubicBezTo>
                    <a:cubicBezTo>
                      <a:pt x="349" y="94"/>
                      <a:pt x="262" y="67"/>
                      <a:pt x="189" y="21"/>
                    </a:cubicBezTo>
                    <a:cubicBezTo>
                      <a:pt x="188" y="20"/>
                      <a:pt x="188" y="20"/>
                      <a:pt x="187" y="20"/>
                    </a:cubicBezTo>
                    <a:cubicBezTo>
                      <a:pt x="168" y="7"/>
                      <a:pt x="145" y="0"/>
                      <a:pt x="121" y="0"/>
                    </a:cubicBezTo>
                    <a:cubicBezTo>
                      <a:pt x="54" y="0"/>
                      <a:pt x="0" y="54"/>
                      <a:pt x="0" y="120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87"/>
                      <a:pt x="54" y="241"/>
                      <a:pt x="121" y="241"/>
                    </a:cubicBezTo>
                    <a:cubicBezTo>
                      <a:pt x="145" y="241"/>
                      <a:pt x="168" y="233"/>
                      <a:pt x="187" y="221"/>
                    </a:cubicBezTo>
                    <a:cubicBezTo>
                      <a:pt x="187" y="220"/>
                      <a:pt x="188" y="220"/>
                      <a:pt x="189" y="220"/>
                    </a:cubicBezTo>
                    <a:cubicBezTo>
                      <a:pt x="262" y="173"/>
                      <a:pt x="349" y="146"/>
                      <a:pt x="443" y="146"/>
                    </a:cubicBezTo>
                    <a:cubicBezTo>
                      <a:pt x="537" y="146"/>
                      <a:pt x="624" y="173"/>
                      <a:pt x="697" y="220"/>
                    </a:cubicBezTo>
                    <a:cubicBezTo>
                      <a:pt x="698" y="220"/>
                      <a:pt x="698" y="220"/>
                      <a:pt x="699" y="221"/>
                    </a:cubicBezTo>
                    <a:cubicBezTo>
                      <a:pt x="718" y="233"/>
                      <a:pt x="741" y="241"/>
                      <a:pt x="765" y="241"/>
                    </a:cubicBezTo>
                    <a:cubicBezTo>
                      <a:pt x="832" y="241"/>
                      <a:pt x="886" y="187"/>
                      <a:pt x="886" y="120"/>
                    </a:cubicBezTo>
                    <a:cubicBezTo>
                      <a:pt x="886" y="54"/>
                      <a:pt x="832" y="0"/>
                      <a:pt x="765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椭圆 50">
                <a:extLst>
                  <a:ext uri="{FF2B5EF4-FFF2-40B4-BE49-F238E27FC236}">
                    <a16:creationId xmlns:a16="http://schemas.microsoft.com/office/drawing/2014/main" id="{2825AF84-BD70-40FB-9DB0-02ABCACC097C}"/>
                  </a:ext>
                </a:extLst>
              </p:cNvPr>
              <p:cNvSpPr/>
              <p:nvPr/>
            </p:nvSpPr>
            <p:spPr bwMode="auto">
              <a:xfrm>
                <a:off x="676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椭圆 51">
                <a:extLst>
                  <a:ext uri="{FF2B5EF4-FFF2-40B4-BE49-F238E27FC236}">
                    <a16:creationId xmlns:a16="http://schemas.microsoft.com/office/drawing/2014/main" id="{0140E990-CC05-4B98-9AA1-9188C7E87FE6}"/>
                  </a:ext>
                </a:extLst>
              </p:cNvPr>
              <p:cNvSpPr/>
              <p:nvPr/>
            </p:nvSpPr>
            <p:spPr bwMode="auto">
              <a:xfrm>
                <a:off x="2200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E4A6FFE7-3357-4889-B4AA-A325561398C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18900000">
              <a:off x="5069578" y="2927711"/>
              <a:ext cx="1918385" cy="661354"/>
              <a:chOff x="121" y="930"/>
              <a:chExt cx="1665" cy="574"/>
            </a:xfrm>
          </p:grpSpPr>
          <p:sp>
            <p:nvSpPr>
              <p:cNvPr id="45" name="矩形 44">
                <a:extLst>
                  <a:ext uri="{FF2B5EF4-FFF2-40B4-BE49-F238E27FC236}">
                    <a16:creationId xmlns:a16="http://schemas.microsoft.com/office/drawing/2014/main" id="{774AD436-4278-4601-B2D3-5835EFF1F280}"/>
                  </a:ext>
                </a:extLst>
              </p:cNvPr>
              <p:cNvSpPr/>
              <p:nvPr/>
            </p:nvSpPr>
            <p:spPr bwMode="auto">
              <a:xfrm>
                <a:off x="121" y="930"/>
                <a:ext cx="1665" cy="5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EE3E63D9-6899-4C16-BFE8-1451E6228EE7}"/>
                  </a:ext>
                </a:extLst>
              </p:cNvPr>
              <p:cNvSpPr/>
              <p:nvPr/>
            </p:nvSpPr>
            <p:spPr bwMode="auto">
              <a:xfrm>
                <a:off x="121" y="932"/>
                <a:ext cx="1665" cy="570"/>
              </a:xfrm>
              <a:custGeom>
                <a:avLst/>
                <a:gdLst>
                  <a:gd name="T0" fmla="*/ 585 w 705"/>
                  <a:gd name="T1" fmla="*/ 0 h 241"/>
                  <a:gd name="T2" fmla="*/ 500 w 705"/>
                  <a:gd name="T3" fmla="*/ 35 h 241"/>
                  <a:gd name="T4" fmla="*/ 494 w 705"/>
                  <a:gd name="T5" fmla="*/ 41 h 241"/>
                  <a:gd name="T6" fmla="*/ 352 w 705"/>
                  <a:gd name="T7" fmla="*/ 101 h 241"/>
                  <a:gd name="T8" fmla="*/ 211 w 705"/>
                  <a:gd name="T9" fmla="*/ 41 h 241"/>
                  <a:gd name="T10" fmla="*/ 205 w 705"/>
                  <a:gd name="T11" fmla="*/ 35 h 241"/>
                  <a:gd name="T12" fmla="*/ 120 w 705"/>
                  <a:gd name="T13" fmla="*/ 0 h 241"/>
                  <a:gd name="T14" fmla="*/ 0 w 705"/>
                  <a:gd name="T15" fmla="*/ 120 h 241"/>
                  <a:gd name="T16" fmla="*/ 120 w 705"/>
                  <a:gd name="T17" fmla="*/ 241 h 241"/>
                  <a:gd name="T18" fmla="*/ 205 w 705"/>
                  <a:gd name="T19" fmla="*/ 206 h 241"/>
                  <a:gd name="T20" fmla="*/ 211 w 705"/>
                  <a:gd name="T21" fmla="*/ 199 h 241"/>
                  <a:gd name="T22" fmla="*/ 352 w 705"/>
                  <a:gd name="T23" fmla="*/ 140 h 241"/>
                  <a:gd name="T24" fmla="*/ 494 w 705"/>
                  <a:gd name="T25" fmla="*/ 199 h 241"/>
                  <a:gd name="T26" fmla="*/ 500 w 705"/>
                  <a:gd name="T27" fmla="*/ 206 h 241"/>
                  <a:gd name="T28" fmla="*/ 585 w 705"/>
                  <a:gd name="T29" fmla="*/ 241 h 241"/>
                  <a:gd name="T30" fmla="*/ 705 w 705"/>
                  <a:gd name="T31" fmla="*/ 120 h 241"/>
                  <a:gd name="T32" fmla="*/ 585 w 705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05" h="241">
                    <a:moveTo>
                      <a:pt x="585" y="0"/>
                    </a:moveTo>
                    <a:cubicBezTo>
                      <a:pt x="552" y="0"/>
                      <a:pt x="522" y="13"/>
                      <a:pt x="500" y="35"/>
                    </a:cubicBezTo>
                    <a:cubicBezTo>
                      <a:pt x="498" y="37"/>
                      <a:pt x="496" y="39"/>
                      <a:pt x="494" y="41"/>
                    </a:cubicBezTo>
                    <a:cubicBezTo>
                      <a:pt x="458" y="78"/>
                      <a:pt x="408" y="101"/>
                      <a:pt x="352" y="101"/>
                    </a:cubicBezTo>
                    <a:cubicBezTo>
                      <a:pt x="297" y="101"/>
                      <a:pt x="247" y="78"/>
                      <a:pt x="211" y="41"/>
                    </a:cubicBezTo>
                    <a:cubicBezTo>
                      <a:pt x="209" y="39"/>
                      <a:pt x="207" y="37"/>
                      <a:pt x="205" y="35"/>
                    </a:cubicBezTo>
                    <a:cubicBezTo>
                      <a:pt x="183" y="13"/>
                      <a:pt x="153" y="0"/>
                      <a:pt x="120" y="0"/>
                    </a:cubicBezTo>
                    <a:cubicBezTo>
                      <a:pt x="53" y="0"/>
                      <a:pt x="0" y="54"/>
                      <a:pt x="0" y="120"/>
                    </a:cubicBezTo>
                    <a:cubicBezTo>
                      <a:pt x="0" y="187"/>
                      <a:pt x="53" y="241"/>
                      <a:pt x="120" y="241"/>
                    </a:cubicBezTo>
                    <a:cubicBezTo>
                      <a:pt x="153" y="241"/>
                      <a:pt x="183" y="227"/>
                      <a:pt x="205" y="206"/>
                    </a:cubicBezTo>
                    <a:cubicBezTo>
                      <a:pt x="207" y="204"/>
                      <a:pt x="209" y="201"/>
                      <a:pt x="211" y="199"/>
                    </a:cubicBezTo>
                    <a:cubicBezTo>
                      <a:pt x="247" y="163"/>
                      <a:pt x="297" y="140"/>
                      <a:pt x="352" y="140"/>
                    </a:cubicBezTo>
                    <a:cubicBezTo>
                      <a:pt x="408" y="140"/>
                      <a:pt x="458" y="163"/>
                      <a:pt x="494" y="199"/>
                    </a:cubicBezTo>
                    <a:cubicBezTo>
                      <a:pt x="496" y="201"/>
                      <a:pt x="498" y="204"/>
                      <a:pt x="500" y="206"/>
                    </a:cubicBezTo>
                    <a:cubicBezTo>
                      <a:pt x="522" y="227"/>
                      <a:pt x="552" y="241"/>
                      <a:pt x="585" y="241"/>
                    </a:cubicBezTo>
                    <a:cubicBezTo>
                      <a:pt x="651" y="241"/>
                      <a:pt x="705" y="187"/>
                      <a:pt x="705" y="120"/>
                    </a:cubicBezTo>
                    <a:cubicBezTo>
                      <a:pt x="705" y="54"/>
                      <a:pt x="651" y="0"/>
                      <a:pt x="58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7" name="椭圆 46">
                <a:extLst>
                  <a:ext uri="{FF2B5EF4-FFF2-40B4-BE49-F238E27FC236}">
                    <a16:creationId xmlns:a16="http://schemas.microsoft.com/office/drawing/2014/main" id="{B059D035-5DBF-4496-8D82-D8DDA48278F3}"/>
                  </a:ext>
                </a:extLst>
              </p:cNvPr>
              <p:cNvSpPr/>
              <p:nvPr/>
            </p:nvSpPr>
            <p:spPr bwMode="auto">
              <a:xfrm>
                <a:off x="156" y="968"/>
                <a:ext cx="496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椭圆 47">
                <a:extLst>
                  <a:ext uri="{FF2B5EF4-FFF2-40B4-BE49-F238E27FC236}">
                    <a16:creationId xmlns:a16="http://schemas.microsoft.com/office/drawing/2014/main" id="{23B87043-EAC3-4A2A-A2DB-EA23DCE704F7}"/>
                  </a:ext>
                </a:extLst>
              </p:cNvPr>
              <p:cNvSpPr/>
              <p:nvPr/>
            </p:nvSpPr>
            <p:spPr bwMode="auto">
              <a:xfrm>
                <a:off x="1252" y="968"/>
                <a:ext cx="499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686EDEE2-5E5E-4065-B0BC-185824AA315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19800000">
              <a:off x="7119874" y="2674760"/>
              <a:ext cx="2417281" cy="655591"/>
              <a:chOff x="638" y="1651"/>
              <a:chExt cx="2098" cy="569"/>
            </a:xfrm>
          </p:grpSpPr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593BF499-52DB-4A26-98A2-5B193EE2C81E}"/>
                  </a:ext>
                </a:extLst>
              </p:cNvPr>
              <p:cNvSpPr/>
              <p:nvPr/>
            </p:nvSpPr>
            <p:spPr bwMode="auto">
              <a:xfrm>
                <a:off x="638" y="1651"/>
                <a:ext cx="2098" cy="5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8F4A8820-8D47-4334-81E5-D5B4260FFF99}"/>
                  </a:ext>
                </a:extLst>
              </p:cNvPr>
              <p:cNvSpPr/>
              <p:nvPr/>
            </p:nvSpPr>
            <p:spPr bwMode="auto">
              <a:xfrm>
                <a:off x="640" y="1651"/>
                <a:ext cx="2094" cy="569"/>
              </a:xfrm>
              <a:custGeom>
                <a:avLst/>
                <a:gdLst>
                  <a:gd name="T0" fmla="*/ 765 w 886"/>
                  <a:gd name="T1" fmla="*/ 0 h 241"/>
                  <a:gd name="T2" fmla="*/ 699 w 886"/>
                  <a:gd name="T3" fmla="*/ 19 h 241"/>
                  <a:gd name="T4" fmla="*/ 697 w 886"/>
                  <a:gd name="T5" fmla="*/ 21 h 241"/>
                  <a:gd name="T6" fmla="*/ 443 w 886"/>
                  <a:gd name="T7" fmla="*/ 94 h 241"/>
                  <a:gd name="T8" fmla="*/ 189 w 886"/>
                  <a:gd name="T9" fmla="*/ 21 h 241"/>
                  <a:gd name="T10" fmla="*/ 187 w 886"/>
                  <a:gd name="T11" fmla="*/ 20 h 241"/>
                  <a:gd name="T12" fmla="*/ 121 w 886"/>
                  <a:gd name="T13" fmla="*/ 0 h 241"/>
                  <a:gd name="T14" fmla="*/ 0 w 886"/>
                  <a:gd name="T15" fmla="*/ 120 h 241"/>
                  <a:gd name="T16" fmla="*/ 0 w 886"/>
                  <a:gd name="T17" fmla="*/ 120 h 241"/>
                  <a:gd name="T18" fmla="*/ 121 w 886"/>
                  <a:gd name="T19" fmla="*/ 241 h 241"/>
                  <a:gd name="T20" fmla="*/ 187 w 886"/>
                  <a:gd name="T21" fmla="*/ 221 h 241"/>
                  <a:gd name="T22" fmla="*/ 189 w 886"/>
                  <a:gd name="T23" fmla="*/ 220 h 241"/>
                  <a:gd name="T24" fmla="*/ 443 w 886"/>
                  <a:gd name="T25" fmla="*/ 146 h 241"/>
                  <a:gd name="T26" fmla="*/ 697 w 886"/>
                  <a:gd name="T27" fmla="*/ 220 h 241"/>
                  <a:gd name="T28" fmla="*/ 699 w 886"/>
                  <a:gd name="T29" fmla="*/ 221 h 241"/>
                  <a:gd name="T30" fmla="*/ 765 w 886"/>
                  <a:gd name="T31" fmla="*/ 241 h 241"/>
                  <a:gd name="T32" fmla="*/ 886 w 886"/>
                  <a:gd name="T33" fmla="*/ 120 h 241"/>
                  <a:gd name="T34" fmla="*/ 765 w 886"/>
                  <a:gd name="T35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6" h="241">
                    <a:moveTo>
                      <a:pt x="765" y="0"/>
                    </a:moveTo>
                    <a:cubicBezTo>
                      <a:pt x="741" y="0"/>
                      <a:pt x="718" y="7"/>
                      <a:pt x="699" y="19"/>
                    </a:cubicBezTo>
                    <a:cubicBezTo>
                      <a:pt x="699" y="20"/>
                      <a:pt x="698" y="20"/>
                      <a:pt x="697" y="21"/>
                    </a:cubicBezTo>
                    <a:cubicBezTo>
                      <a:pt x="624" y="67"/>
                      <a:pt x="537" y="94"/>
                      <a:pt x="443" y="94"/>
                    </a:cubicBezTo>
                    <a:cubicBezTo>
                      <a:pt x="349" y="94"/>
                      <a:pt x="262" y="67"/>
                      <a:pt x="189" y="21"/>
                    </a:cubicBezTo>
                    <a:cubicBezTo>
                      <a:pt x="188" y="20"/>
                      <a:pt x="188" y="20"/>
                      <a:pt x="187" y="20"/>
                    </a:cubicBezTo>
                    <a:cubicBezTo>
                      <a:pt x="168" y="7"/>
                      <a:pt x="145" y="0"/>
                      <a:pt x="121" y="0"/>
                    </a:cubicBezTo>
                    <a:cubicBezTo>
                      <a:pt x="54" y="0"/>
                      <a:pt x="0" y="54"/>
                      <a:pt x="0" y="120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87"/>
                      <a:pt x="54" y="241"/>
                      <a:pt x="121" y="241"/>
                    </a:cubicBezTo>
                    <a:cubicBezTo>
                      <a:pt x="145" y="241"/>
                      <a:pt x="168" y="233"/>
                      <a:pt x="187" y="221"/>
                    </a:cubicBezTo>
                    <a:cubicBezTo>
                      <a:pt x="187" y="220"/>
                      <a:pt x="188" y="220"/>
                      <a:pt x="189" y="220"/>
                    </a:cubicBezTo>
                    <a:cubicBezTo>
                      <a:pt x="262" y="173"/>
                      <a:pt x="349" y="146"/>
                      <a:pt x="443" y="146"/>
                    </a:cubicBezTo>
                    <a:cubicBezTo>
                      <a:pt x="537" y="146"/>
                      <a:pt x="624" y="173"/>
                      <a:pt x="697" y="220"/>
                    </a:cubicBezTo>
                    <a:cubicBezTo>
                      <a:pt x="698" y="220"/>
                      <a:pt x="698" y="220"/>
                      <a:pt x="699" y="221"/>
                    </a:cubicBezTo>
                    <a:cubicBezTo>
                      <a:pt x="718" y="233"/>
                      <a:pt x="741" y="241"/>
                      <a:pt x="765" y="241"/>
                    </a:cubicBezTo>
                    <a:cubicBezTo>
                      <a:pt x="832" y="241"/>
                      <a:pt x="886" y="187"/>
                      <a:pt x="886" y="120"/>
                    </a:cubicBezTo>
                    <a:cubicBezTo>
                      <a:pt x="886" y="54"/>
                      <a:pt x="832" y="0"/>
                      <a:pt x="76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椭圆 42">
                <a:extLst>
                  <a:ext uri="{FF2B5EF4-FFF2-40B4-BE49-F238E27FC236}">
                    <a16:creationId xmlns:a16="http://schemas.microsoft.com/office/drawing/2014/main" id="{9D26FBF2-860B-4017-867B-D1A7159BE8C7}"/>
                  </a:ext>
                </a:extLst>
              </p:cNvPr>
              <p:cNvSpPr/>
              <p:nvPr/>
            </p:nvSpPr>
            <p:spPr bwMode="auto">
              <a:xfrm>
                <a:off x="676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椭圆 43">
                <a:extLst>
                  <a:ext uri="{FF2B5EF4-FFF2-40B4-BE49-F238E27FC236}">
                    <a16:creationId xmlns:a16="http://schemas.microsoft.com/office/drawing/2014/main" id="{02F3CA88-B0EF-48AE-8F4A-40277B5DCB10}"/>
                  </a:ext>
                </a:extLst>
              </p:cNvPr>
              <p:cNvSpPr/>
              <p:nvPr/>
            </p:nvSpPr>
            <p:spPr bwMode="auto">
              <a:xfrm>
                <a:off x="2200" y="1687"/>
                <a:ext cx="498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66CFC911-6A0E-4DF5-9343-AB4946E65AC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1800000">
              <a:off x="6061911" y="2796090"/>
              <a:ext cx="1918385" cy="661354"/>
              <a:chOff x="121" y="930"/>
              <a:chExt cx="1665" cy="574"/>
            </a:xfrm>
          </p:grpSpPr>
          <p:sp>
            <p:nvSpPr>
              <p:cNvPr id="37" name="矩形 36">
                <a:extLst>
                  <a:ext uri="{FF2B5EF4-FFF2-40B4-BE49-F238E27FC236}">
                    <a16:creationId xmlns:a16="http://schemas.microsoft.com/office/drawing/2014/main" id="{C0E59F88-18DA-41EA-A891-60A94C16DD44}"/>
                  </a:ext>
                </a:extLst>
              </p:cNvPr>
              <p:cNvSpPr/>
              <p:nvPr/>
            </p:nvSpPr>
            <p:spPr bwMode="auto">
              <a:xfrm>
                <a:off x="121" y="930"/>
                <a:ext cx="1665" cy="5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786B9559-2672-40D0-8FB0-6DA5EB9B76BC}"/>
                  </a:ext>
                </a:extLst>
              </p:cNvPr>
              <p:cNvSpPr/>
              <p:nvPr/>
            </p:nvSpPr>
            <p:spPr bwMode="auto">
              <a:xfrm>
                <a:off x="121" y="932"/>
                <a:ext cx="1665" cy="570"/>
              </a:xfrm>
              <a:custGeom>
                <a:avLst/>
                <a:gdLst>
                  <a:gd name="T0" fmla="*/ 585 w 705"/>
                  <a:gd name="T1" fmla="*/ 0 h 241"/>
                  <a:gd name="T2" fmla="*/ 500 w 705"/>
                  <a:gd name="T3" fmla="*/ 35 h 241"/>
                  <a:gd name="T4" fmla="*/ 494 w 705"/>
                  <a:gd name="T5" fmla="*/ 41 h 241"/>
                  <a:gd name="T6" fmla="*/ 352 w 705"/>
                  <a:gd name="T7" fmla="*/ 101 h 241"/>
                  <a:gd name="T8" fmla="*/ 211 w 705"/>
                  <a:gd name="T9" fmla="*/ 41 h 241"/>
                  <a:gd name="T10" fmla="*/ 205 w 705"/>
                  <a:gd name="T11" fmla="*/ 35 h 241"/>
                  <a:gd name="T12" fmla="*/ 120 w 705"/>
                  <a:gd name="T13" fmla="*/ 0 h 241"/>
                  <a:gd name="T14" fmla="*/ 0 w 705"/>
                  <a:gd name="T15" fmla="*/ 120 h 241"/>
                  <a:gd name="T16" fmla="*/ 120 w 705"/>
                  <a:gd name="T17" fmla="*/ 241 h 241"/>
                  <a:gd name="T18" fmla="*/ 205 w 705"/>
                  <a:gd name="T19" fmla="*/ 206 h 241"/>
                  <a:gd name="T20" fmla="*/ 211 w 705"/>
                  <a:gd name="T21" fmla="*/ 199 h 241"/>
                  <a:gd name="T22" fmla="*/ 352 w 705"/>
                  <a:gd name="T23" fmla="*/ 140 h 241"/>
                  <a:gd name="T24" fmla="*/ 494 w 705"/>
                  <a:gd name="T25" fmla="*/ 199 h 241"/>
                  <a:gd name="T26" fmla="*/ 500 w 705"/>
                  <a:gd name="T27" fmla="*/ 206 h 241"/>
                  <a:gd name="T28" fmla="*/ 585 w 705"/>
                  <a:gd name="T29" fmla="*/ 241 h 241"/>
                  <a:gd name="T30" fmla="*/ 705 w 705"/>
                  <a:gd name="T31" fmla="*/ 120 h 241"/>
                  <a:gd name="T32" fmla="*/ 585 w 705"/>
                  <a:gd name="T3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05" h="241">
                    <a:moveTo>
                      <a:pt x="585" y="0"/>
                    </a:moveTo>
                    <a:cubicBezTo>
                      <a:pt x="552" y="0"/>
                      <a:pt x="522" y="13"/>
                      <a:pt x="500" y="35"/>
                    </a:cubicBezTo>
                    <a:cubicBezTo>
                      <a:pt x="498" y="37"/>
                      <a:pt x="496" y="39"/>
                      <a:pt x="494" y="41"/>
                    </a:cubicBezTo>
                    <a:cubicBezTo>
                      <a:pt x="458" y="78"/>
                      <a:pt x="408" y="101"/>
                      <a:pt x="352" y="101"/>
                    </a:cubicBezTo>
                    <a:cubicBezTo>
                      <a:pt x="297" y="101"/>
                      <a:pt x="247" y="78"/>
                      <a:pt x="211" y="41"/>
                    </a:cubicBezTo>
                    <a:cubicBezTo>
                      <a:pt x="209" y="39"/>
                      <a:pt x="207" y="37"/>
                      <a:pt x="205" y="35"/>
                    </a:cubicBezTo>
                    <a:cubicBezTo>
                      <a:pt x="183" y="13"/>
                      <a:pt x="153" y="0"/>
                      <a:pt x="120" y="0"/>
                    </a:cubicBezTo>
                    <a:cubicBezTo>
                      <a:pt x="53" y="0"/>
                      <a:pt x="0" y="54"/>
                      <a:pt x="0" y="120"/>
                    </a:cubicBezTo>
                    <a:cubicBezTo>
                      <a:pt x="0" y="187"/>
                      <a:pt x="53" y="241"/>
                      <a:pt x="120" y="241"/>
                    </a:cubicBezTo>
                    <a:cubicBezTo>
                      <a:pt x="153" y="241"/>
                      <a:pt x="183" y="227"/>
                      <a:pt x="205" y="206"/>
                    </a:cubicBezTo>
                    <a:cubicBezTo>
                      <a:pt x="207" y="204"/>
                      <a:pt x="209" y="201"/>
                      <a:pt x="211" y="199"/>
                    </a:cubicBezTo>
                    <a:cubicBezTo>
                      <a:pt x="247" y="163"/>
                      <a:pt x="297" y="140"/>
                      <a:pt x="352" y="140"/>
                    </a:cubicBezTo>
                    <a:cubicBezTo>
                      <a:pt x="408" y="140"/>
                      <a:pt x="458" y="163"/>
                      <a:pt x="494" y="199"/>
                    </a:cubicBezTo>
                    <a:cubicBezTo>
                      <a:pt x="496" y="201"/>
                      <a:pt x="498" y="204"/>
                      <a:pt x="500" y="206"/>
                    </a:cubicBezTo>
                    <a:cubicBezTo>
                      <a:pt x="522" y="227"/>
                      <a:pt x="552" y="241"/>
                      <a:pt x="585" y="241"/>
                    </a:cubicBezTo>
                    <a:cubicBezTo>
                      <a:pt x="651" y="241"/>
                      <a:pt x="705" y="187"/>
                      <a:pt x="705" y="120"/>
                    </a:cubicBezTo>
                    <a:cubicBezTo>
                      <a:pt x="705" y="54"/>
                      <a:pt x="651" y="0"/>
                      <a:pt x="585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椭圆 38">
                <a:extLst>
                  <a:ext uri="{FF2B5EF4-FFF2-40B4-BE49-F238E27FC236}">
                    <a16:creationId xmlns:a16="http://schemas.microsoft.com/office/drawing/2014/main" id="{F7630410-14EE-47D5-83BE-2FA2D813C802}"/>
                  </a:ext>
                </a:extLst>
              </p:cNvPr>
              <p:cNvSpPr/>
              <p:nvPr/>
            </p:nvSpPr>
            <p:spPr bwMode="auto">
              <a:xfrm>
                <a:off x="156" y="968"/>
                <a:ext cx="496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椭圆 39">
                <a:extLst>
                  <a:ext uri="{FF2B5EF4-FFF2-40B4-BE49-F238E27FC236}">
                    <a16:creationId xmlns:a16="http://schemas.microsoft.com/office/drawing/2014/main" id="{A52A6DBA-F8DA-463B-B50C-C32C0A10FAFE}"/>
                  </a:ext>
                </a:extLst>
              </p:cNvPr>
              <p:cNvSpPr/>
              <p:nvPr/>
            </p:nvSpPr>
            <p:spPr bwMode="auto">
              <a:xfrm>
                <a:off x="1252" y="968"/>
                <a:ext cx="499" cy="4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A2CDD107-3301-47C9-B88F-AF0BF65887AB}"/>
                </a:ext>
              </a:extLst>
            </p:cNvPr>
            <p:cNvSpPr txBox="1"/>
            <p:nvPr/>
          </p:nvSpPr>
          <p:spPr>
            <a:xfrm>
              <a:off x="870216" y="4842702"/>
              <a:ext cx="1607153" cy="46166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en-US" altLang="zh-HK" sz="2400"/>
                <a:t>3</a:t>
              </a:r>
              <a:r>
                <a:rPr lang="en-US" altLang="zh-HK" sz="100"/>
                <a:t> </a:t>
              </a:r>
              <a:r>
                <a:rPr lang="en-US" altLang="zh-HK" sz="2400"/>
                <a:t>4%</a:t>
              </a:r>
            </a:p>
          </p:txBody>
        </p: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11FD4B3A-6494-428B-A1B0-2651F1B37CB4}"/>
                </a:ext>
              </a:extLst>
            </p:cNvPr>
            <p:cNvCxnSpPr/>
            <p:nvPr/>
          </p:nvCxnSpPr>
          <p:spPr>
            <a:xfrm>
              <a:off x="2779345" y="4976051"/>
              <a:ext cx="0" cy="905733"/>
            </a:xfrm>
            <a:prstGeom prst="line">
              <a:avLst/>
            </a:prstGeom>
            <a:ln w="9525">
              <a:solidFill>
                <a:schemeClr val="bg2">
                  <a:lumMod val="85000"/>
                </a:schemeClr>
              </a:solidFill>
              <a:prstDash val="dash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CFF6CFF0-558F-4156-9719-3F67AB2742BB}"/>
                </a:ext>
              </a:extLst>
            </p:cNvPr>
            <p:cNvCxnSpPr/>
            <p:nvPr/>
          </p:nvCxnSpPr>
          <p:spPr>
            <a:xfrm>
              <a:off x="4990449" y="4976051"/>
              <a:ext cx="0" cy="905733"/>
            </a:xfrm>
            <a:prstGeom prst="line">
              <a:avLst/>
            </a:prstGeom>
            <a:ln w="9525">
              <a:solidFill>
                <a:schemeClr val="bg2">
                  <a:lumMod val="85000"/>
                </a:schemeClr>
              </a:solidFill>
              <a:prstDash val="dash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BC4FE20B-07B3-44BA-A2C0-489A5209C0DC}"/>
                </a:ext>
              </a:extLst>
            </p:cNvPr>
            <p:cNvCxnSpPr/>
            <p:nvPr/>
          </p:nvCxnSpPr>
          <p:spPr>
            <a:xfrm>
              <a:off x="7201553" y="4976051"/>
              <a:ext cx="0" cy="905733"/>
            </a:xfrm>
            <a:prstGeom prst="line">
              <a:avLst/>
            </a:prstGeom>
            <a:ln w="9525">
              <a:solidFill>
                <a:schemeClr val="bg2">
                  <a:lumMod val="85000"/>
                </a:schemeClr>
              </a:solidFill>
              <a:prstDash val="dash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A2E6DB66-6A48-45BA-8FAD-F7F7F2E910AB}"/>
                </a:ext>
              </a:extLst>
            </p:cNvPr>
            <p:cNvCxnSpPr/>
            <p:nvPr/>
          </p:nvCxnSpPr>
          <p:spPr>
            <a:xfrm>
              <a:off x="9412655" y="4976051"/>
              <a:ext cx="0" cy="905733"/>
            </a:xfrm>
            <a:prstGeom prst="line">
              <a:avLst/>
            </a:prstGeom>
            <a:ln w="9525">
              <a:solidFill>
                <a:schemeClr val="bg2">
                  <a:lumMod val="85000"/>
                </a:schemeClr>
              </a:solidFill>
              <a:prstDash val="dash"/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CF54DE50-4931-412C-803A-836A09391D02}"/>
                </a:ext>
              </a:extLst>
            </p:cNvPr>
            <p:cNvSpPr txBox="1"/>
            <p:nvPr/>
          </p:nvSpPr>
          <p:spPr>
            <a:xfrm>
              <a:off x="3081320" y="4842701"/>
              <a:ext cx="1607153" cy="46166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en-US" altLang="zh-HK" sz="2400"/>
                <a:t>2</a:t>
              </a:r>
              <a:r>
                <a:rPr lang="en-US" altLang="zh-HK" sz="100"/>
                <a:t> </a:t>
              </a:r>
              <a:r>
                <a:rPr lang="en-US" altLang="zh-HK" sz="2400"/>
                <a:t>5%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5DC73C1B-FBD7-4398-98B0-A982A3884CB0}"/>
                </a:ext>
              </a:extLst>
            </p:cNvPr>
            <p:cNvSpPr txBox="1"/>
            <p:nvPr/>
          </p:nvSpPr>
          <p:spPr>
            <a:xfrm>
              <a:off x="5292424" y="4842702"/>
              <a:ext cx="1607153" cy="46166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en-US" altLang="zh-HK" sz="2400"/>
                <a:t>8</a:t>
              </a:r>
              <a:r>
                <a:rPr lang="en-US" altLang="zh-HK" sz="100"/>
                <a:t> </a:t>
              </a:r>
              <a:r>
                <a:rPr lang="en-US" altLang="zh-HK" sz="2400"/>
                <a:t>5%</a:t>
              </a: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05A7491E-5FCE-4D85-B625-52E6EAB2B38B}"/>
                </a:ext>
              </a:extLst>
            </p:cNvPr>
            <p:cNvSpPr txBox="1"/>
            <p:nvPr/>
          </p:nvSpPr>
          <p:spPr>
            <a:xfrm>
              <a:off x="7503528" y="4842702"/>
              <a:ext cx="1607153" cy="46166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en-US" altLang="zh-HK" sz="2400"/>
                <a:t>6</a:t>
              </a:r>
              <a:r>
                <a:rPr lang="en-US" altLang="zh-HK" sz="100"/>
                <a:t> </a:t>
              </a:r>
              <a:r>
                <a:rPr lang="en-US" altLang="zh-HK" sz="2400"/>
                <a:t>7%</a:t>
              </a: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779AFBC7-BB87-4226-86C2-15BD439F3489}"/>
                </a:ext>
              </a:extLst>
            </p:cNvPr>
            <p:cNvSpPr txBox="1"/>
            <p:nvPr/>
          </p:nvSpPr>
          <p:spPr>
            <a:xfrm>
              <a:off x="9714631" y="4842702"/>
              <a:ext cx="1607153" cy="461665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en-US" altLang="zh-HK" sz="2400"/>
                <a:t>7</a:t>
              </a:r>
              <a:r>
                <a:rPr lang="en-US" altLang="zh-HK" sz="100"/>
                <a:t> </a:t>
              </a:r>
              <a:r>
                <a:rPr lang="en-US" altLang="zh-HK" sz="2400"/>
                <a:t>2%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5B5DF2CA-2235-4A63-BAFC-D2ABBCD852B0}"/>
                </a:ext>
              </a:extLst>
            </p:cNvPr>
            <p:cNvSpPr txBox="1"/>
            <p:nvPr/>
          </p:nvSpPr>
          <p:spPr>
            <a:xfrm>
              <a:off x="870216" y="5366577"/>
              <a:ext cx="1607153" cy="307777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en-US" altLang="zh-CN" sz="1400"/>
                <a:t>Text h</a:t>
              </a:r>
              <a:r>
                <a:rPr lang="en-US" altLang="zh-CN" sz="100"/>
                <a:t> </a:t>
              </a:r>
              <a:r>
                <a:rPr lang="en-US" altLang="zh-CN" sz="1400"/>
                <a:t>ere</a:t>
              </a:r>
              <a:endParaRPr lang="zh-CN" altLang="en-US" sz="1400"/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9BA256A3-E339-4CE0-9C44-84895F8572F5}"/>
                </a:ext>
              </a:extLst>
            </p:cNvPr>
            <p:cNvSpPr txBox="1"/>
            <p:nvPr/>
          </p:nvSpPr>
          <p:spPr>
            <a:xfrm>
              <a:off x="3081320" y="5366577"/>
              <a:ext cx="1607153" cy="307777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en-US" altLang="zh-CN" sz="1400"/>
                <a:t>Text h</a:t>
              </a:r>
              <a:r>
                <a:rPr lang="en-US" altLang="zh-CN" sz="100"/>
                <a:t> </a:t>
              </a:r>
              <a:r>
                <a:rPr lang="en-US" altLang="zh-CN" sz="1400"/>
                <a:t>ere</a:t>
              </a:r>
              <a:endParaRPr lang="zh-CN" altLang="en-US" sz="1400"/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AFE37521-7160-4BE0-89C9-5F8D2C398982}"/>
                </a:ext>
              </a:extLst>
            </p:cNvPr>
            <p:cNvSpPr txBox="1"/>
            <p:nvPr/>
          </p:nvSpPr>
          <p:spPr>
            <a:xfrm>
              <a:off x="5292424" y="5366577"/>
              <a:ext cx="1607153" cy="307777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en-US" altLang="zh-CN" sz="1400"/>
                <a:t>Text h</a:t>
              </a:r>
              <a:r>
                <a:rPr lang="en-US" altLang="zh-CN" sz="100"/>
                <a:t> </a:t>
              </a:r>
              <a:r>
                <a:rPr lang="en-US" altLang="zh-CN" sz="1400"/>
                <a:t>ere</a:t>
              </a:r>
              <a:endParaRPr lang="zh-CN" altLang="en-US" sz="1400"/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859D846A-3FA9-4F52-BDF3-F7902EDA2119}"/>
                </a:ext>
              </a:extLst>
            </p:cNvPr>
            <p:cNvSpPr txBox="1"/>
            <p:nvPr/>
          </p:nvSpPr>
          <p:spPr>
            <a:xfrm>
              <a:off x="7503528" y="5366577"/>
              <a:ext cx="1607153" cy="307777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en-US" altLang="zh-CN" sz="1400"/>
                <a:t>Text h</a:t>
              </a:r>
              <a:r>
                <a:rPr lang="en-US" altLang="zh-CN" sz="100"/>
                <a:t> </a:t>
              </a:r>
              <a:r>
                <a:rPr lang="en-US" altLang="zh-CN" sz="1400"/>
                <a:t>ere</a:t>
              </a:r>
              <a:endParaRPr lang="zh-CN" altLang="en-US" sz="1400"/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123ACA53-6212-465C-9FC2-9061BD747A6E}"/>
                </a:ext>
              </a:extLst>
            </p:cNvPr>
            <p:cNvSpPr txBox="1"/>
            <p:nvPr/>
          </p:nvSpPr>
          <p:spPr>
            <a:xfrm>
              <a:off x="9714631" y="5366577"/>
              <a:ext cx="1607153" cy="307777"/>
            </a:xfrm>
            <a:prstGeom prst="rect">
              <a:avLst/>
            </a:prstGeom>
            <a:noFill/>
          </p:spPr>
          <p:txBody>
            <a:bodyPr wrap="square">
              <a:normAutofit/>
            </a:bodyPr>
            <a:lstStyle/>
            <a:p>
              <a:pPr algn="ctr"/>
              <a:r>
                <a:rPr lang="en-US" altLang="zh-CN" sz="1400"/>
                <a:t>Text h</a:t>
              </a:r>
              <a:r>
                <a:rPr lang="en-US" altLang="zh-CN" sz="100"/>
                <a:t> </a:t>
              </a:r>
              <a:r>
                <a:rPr lang="en-US" altLang="zh-CN" sz="1400"/>
                <a:t>ere</a:t>
              </a:r>
              <a:endParaRPr lang="zh-CN" altLang="en-US" sz="1400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F701469C-2BF4-4CBF-8119-5F24AD155ADD}"/>
                </a:ext>
              </a:extLst>
            </p:cNvPr>
            <p:cNvSpPr/>
            <p:nvPr/>
          </p:nvSpPr>
          <p:spPr bwMode="auto">
            <a:xfrm>
              <a:off x="2211650" y="3161608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46148872-B815-4F61-B79C-BA7F6415B5D6}"/>
                </a:ext>
              </a:extLst>
            </p:cNvPr>
            <p:cNvSpPr/>
            <p:nvPr/>
          </p:nvSpPr>
          <p:spPr bwMode="auto">
            <a:xfrm>
              <a:off x="7419417" y="3294424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7F3B4D21-1B13-4BE1-9D16-BD2D95AA04DA}"/>
                </a:ext>
              </a:extLst>
            </p:cNvPr>
            <p:cNvSpPr/>
            <p:nvPr/>
          </p:nvSpPr>
          <p:spPr bwMode="auto">
            <a:xfrm>
              <a:off x="5429724" y="3563575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CA3B808A-4546-4FF4-913A-1E2F074690B4}"/>
                </a:ext>
              </a:extLst>
            </p:cNvPr>
            <p:cNvSpPr/>
            <p:nvPr/>
          </p:nvSpPr>
          <p:spPr bwMode="auto">
            <a:xfrm>
              <a:off x="3914649" y="2696656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C246628A-1A16-47ED-8844-1A5B35E6B842}"/>
                </a:ext>
              </a:extLst>
            </p:cNvPr>
            <p:cNvSpPr/>
            <p:nvPr/>
          </p:nvSpPr>
          <p:spPr bwMode="auto">
            <a:xfrm>
              <a:off x="6314785" y="2696656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12B64456-8920-4FE7-A527-A830434BB025}"/>
                </a:ext>
              </a:extLst>
            </p:cNvPr>
            <p:cNvSpPr/>
            <p:nvPr/>
          </p:nvSpPr>
          <p:spPr bwMode="auto">
            <a:xfrm>
              <a:off x="8940650" y="2439481"/>
              <a:ext cx="296981" cy="269151"/>
            </a:xfrm>
            <a:custGeom>
              <a:avLst/>
              <a:gdLst>
                <a:gd name="connsiteX0" fmla="*/ 496512 w 622984"/>
                <a:gd name="connsiteY0" fmla="*/ 492841 h 564606"/>
                <a:gd name="connsiteX1" fmla="*/ 473955 w 622984"/>
                <a:gd name="connsiteY1" fmla="*/ 515853 h 564606"/>
                <a:gd name="connsiteX2" fmla="*/ 496512 w 622984"/>
                <a:gd name="connsiteY2" fmla="*/ 535354 h 564606"/>
                <a:gd name="connsiteX3" fmla="*/ 519457 w 622984"/>
                <a:gd name="connsiteY3" fmla="*/ 515853 h 564606"/>
                <a:gd name="connsiteX4" fmla="*/ 496512 w 622984"/>
                <a:gd name="connsiteY4" fmla="*/ 492841 h 564606"/>
                <a:gd name="connsiteX5" fmla="*/ 249694 w 622984"/>
                <a:gd name="connsiteY5" fmla="*/ 352049 h 564606"/>
                <a:gd name="connsiteX6" fmla="*/ 272741 w 622984"/>
                <a:gd name="connsiteY6" fmla="*/ 374570 h 564606"/>
                <a:gd name="connsiteX7" fmla="*/ 171569 w 622984"/>
                <a:gd name="connsiteY7" fmla="*/ 475137 h 564606"/>
                <a:gd name="connsiteX8" fmla="*/ 177819 w 622984"/>
                <a:gd name="connsiteY8" fmla="*/ 481738 h 564606"/>
                <a:gd name="connsiteX9" fmla="*/ 155163 w 622984"/>
                <a:gd name="connsiteY9" fmla="*/ 510860 h 564606"/>
                <a:gd name="connsiteX10" fmla="*/ 73522 w 622984"/>
                <a:gd name="connsiteY10" fmla="*/ 562891 h 564606"/>
                <a:gd name="connsiteX11" fmla="*/ 60241 w 622984"/>
                <a:gd name="connsiteY11" fmla="*/ 550077 h 564606"/>
                <a:gd name="connsiteX12" fmla="*/ 112585 w 622984"/>
                <a:gd name="connsiteY12" fmla="*/ 468925 h 564606"/>
                <a:gd name="connsiteX13" fmla="*/ 141882 w 622984"/>
                <a:gd name="connsiteY13" fmla="*/ 446015 h 564606"/>
                <a:gd name="connsiteX14" fmla="*/ 148522 w 622984"/>
                <a:gd name="connsiteY14" fmla="*/ 452616 h 564606"/>
                <a:gd name="connsiteX15" fmla="*/ 122234 w 622984"/>
                <a:gd name="connsiteY15" fmla="*/ 15041 h 564606"/>
                <a:gd name="connsiteX16" fmla="*/ 210667 w 622984"/>
                <a:gd name="connsiteY16" fmla="*/ 52502 h 564606"/>
                <a:gd name="connsiteX17" fmla="*/ 242946 w 622984"/>
                <a:gd name="connsiteY17" fmla="*/ 173410 h 564606"/>
                <a:gd name="connsiteX18" fmla="*/ 532291 w 622984"/>
                <a:gd name="connsiteY18" fmla="*/ 463589 h 564606"/>
                <a:gd name="connsiteX19" fmla="*/ 532291 w 622984"/>
                <a:gd name="connsiteY19" fmla="*/ 545105 h 564606"/>
                <a:gd name="connsiteX20" fmla="*/ 493400 w 622984"/>
                <a:gd name="connsiteY20" fmla="*/ 564606 h 564606"/>
                <a:gd name="connsiteX21" fmla="*/ 451010 w 622984"/>
                <a:gd name="connsiteY21" fmla="*/ 545105 h 564606"/>
                <a:gd name="connsiteX22" fmla="*/ 161665 w 622984"/>
                <a:gd name="connsiteY22" fmla="*/ 258046 h 564606"/>
                <a:gd name="connsiteX23" fmla="*/ 34882 w 622984"/>
                <a:gd name="connsiteY23" fmla="*/ 225674 h 564606"/>
                <a:gd name="connsiteX24" fmla="*/ 5715 w 622984"/>
                <a:gd name="connsiteY24" fmla="*/ 104766 h 564606"/>
                <a:gd name="connsiteX25" fmla="*/ 74162 w 622984"/>
                <a:gd name="connsiteY25" fmla="*/ 176530 h 564606"/>
                <a:gd name="connsiteX26" fmla="*/ 142220 w 622984"/>
                <a:gd name="connsiteY26" fmla="*/ 157029 h 564606"/>
                <a:gd name="connsiteX27" fmla="*/ 161665 w 622984"/>
                <a:gd name="connsiteY27" fmla="*/ 88385 h 564606"/>
                <a:gd name="connsiteX28" fmla="*/ 90107 w 622984"/>
                <a:gd name="connsiteY28" fmla="*/ 20130 h 564606"/>
                <a:gd name="connsiteX29" fmla="*/ 122234 w 622984"/>
                <a:gd name="connsiteY29" fmla="*/ 15041 h 564606"/>
                <a:gd name="connsiteX30" fmla="*/ 531841 w 622984"/>
                <a:gd name="connsiteY30" fmla="*/ 0 h 564606"/>
                <a:gd name="connsiteX31" fmla="*/ 622984 w 622984"/>
                <a:gd name="connsiteY31" fmla="*/ 87684 h 564606"/>
                <a:gd name="connsiteX32" fmla="*/ 463289 w 622984"/>
                <a:gd name="connsiteY32" fmla="*/ 247465 h 564606"/>
                <a:gd name="connsiteX33" fmla="*/ 424339 w 622984"/>
                <a:gd name="connsiteY33" fmla="*/ 257207 h 564606"/>
                <a:gd name="connsiteX34" fmla="*/ 362409 w 622984"/>
                <a:gd name="connsiteY34" fmla="*/ 198751 h 564606"/>
                <a:gd name="connsiteX35" fmla="*/ 375263 w 622984"/>
                <a:gd name="connsiteY35" fmla="*/ 159391 h 564606"/>
                <a:gd name="connsiteX36" fmla="*/ 531841 w 622984"/>
                <a:gd name="connsiteY36" fmla="*/ 0 h 56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22984" h="564606">
                  <a:moveTo>
                    <a:pt x="496512" y="492841"/>
                  </a:moveTo>
                  <a:cubicBezTo>
                    <a:pt x="483678" y="492841"/>
                    <a:pt x="473955" y="502592"/>
                    <a:pt x="473955" y="515853"/>
                  </a:cubicBezTo>
                  <a:cubicBezTo>
                    <a:pt x="473955" y="525604"/>
                    <a:pt x="483678" y="535354"/>
                    <a:pt x="496512" y="535354"/>
                  </a:cubicBezTo>
                  <a:cubicBezTo>
                    <a:pt x="509734" y="535354"/>
                    <a:pt x="519457" y="525604"/>
                    <a:pt x="519457" y="515853"/>
                  </a:cubicBezTo>
                  <a:cubicBezTo>
                    <a:pt x="519457" y="502592"/>
                    <a:pt x="509734" y="492841"/>
                    <a:pt x="496512" y="492841"/>
                  </a:cubicBezTo>
                  <a:close/>
                  <a:moveTo>
                    <a:pt x="249694" y="352049"/>
                  </a:moveTo>
                  <a:lnTo>
                    <a:pt x="272741" y="374570"/>
                  </a:lnTo>
                  <a:lnTo>
                    <a:pt x="171569" y="475137"/>
                  </a:lnTo>
                  <a:lnTo>
                    <a:pt x="177819" y="481738"/>
                  </a:lnTo>
                  <a:lnTo>
                    <a:pt x="155163" y="510860"/>
                  </a:lnTo>
                  <a:lnTo>
                    <a:pt x="73522" y="562891"/>
                  </a:lnTo>
                  <a:lnTo>
                    <a:pt x="60241" y="550077"/>
                  </a:lnTo>
                  <a:lnTo>
                    <a:pt x="112585" y="468925"/>
                  </a:lnTo>
                  <a:lnTo>
                    <a:pt x="141882" y="446015"/>
                  </a:lnTo>
                  <a:lnTo>
                    <a:pt x="148522" y="452616"/>
                  </a:lnTo>
                  <a:close/>
                  <a:moveTo>
                    <a:pt x="122234" y="15041"/>
                  </a:moveTo>
                  <a:cubicBezTo>
                    <a:pt x="154446" y="14694"/>
                    <a:pt x="186166" y="28223"/>
                    <a:pt x="210667" y="52502"/>
                  </a:cubicBezTo>
                  <a:cubicBezTo>
                    <a:pt x="242946" y="85264"/>
                    <a:pt x="256169" y="130897"/>
                    <a:pt x="242946" y="173410"/>
                  </a:cubicBezTo>
                  <a:lnTo>
                    <a:pt x="532291" y="463589"/>
                  </a:lnTo>
                  <a:cubicBezTo>
                    <a:pt x="555236" y="486211"/>
                    <a:pt x="555236" y="522093"/>
                    <a:pt x="532291" y="545105"/>
                  </a:cubicBezTo>
                  <a:cubicBezTo>
                    <a:pt x="522568" y="557976"/>
                    <a:pt x="506234" y="564606"/>
                    <a:pt x="493400" y="564606"/>
                  </a:cubicBezTo>
                  <a:cubicBezTo>
                    <a:pt x="477066" y="564606"/>
                    <a:pt x="460733" y="557976"/>
                    <a:pt x="451010" y="545105"/>
                  </a:cubicBezTo>
                  <a:cubicBezTo>
                    <a:pt x="451010" y="545105"/>
                    <a:pt x="451010" y="545105"/>
                    <a:pt x="161665" y="258046"/>
                  </a:cubicBezTo>
                  <a:cubicBezTo>
                    <a:pt x="119275" y="270917"/>
                    <a:pt x="70662" y="261556"/>
                    <a:pt x="34882" y="225674"/>
                  </a:cubicBezTo>
                  <a:cubicBezTo>
                    <a:pt x="2215" y="192911"/>
                    <a:pt x="-7508" y="147278"/>
                    <a:pt x="5715" y="104766"/>
                  </a:cubicBezTo>
                  <a:cubicBezTo>
                    <a:pt x="5715" y="104766"/>
                    <a:pt x="5715" y="104766"/>
                    <a:pt x="74162" y="176530"/>
                  </a:cubicBezTo>
                  <a:cubicBezTo>
                    <a:pt x="74162" y="176530"/>
                    <a:pt x="74162" y="176530"/>
                    <a:pt x="142220" y="157029"/>
                  </a:cubicBezTo>
                  <a:cubicBezTo>
                    <a:pt x="142220" y="157029"/>
                    <a:pt x="142220" y="157029"/>
                    <a:pt x="161665" y="88385"/>
                  </a:cubicBezTo>
                  <a:cubicBezTo>
                    <a:pt x="161665" y="88385"/>
                    <a:pt x="161665" y="88385"/>
                    <a:pt x="90107" y="20130"/>
                  </a:cubicBezTo>
                  <a:cubicBezTo>
                    <a:pt x="100704" y="16815"/>
                    <a:pt x="111497" y="15157"/>
                    <a:pt x="122234" y="15041"/>
                  </a:cubicBezTo>
                  <a:close/>
                  <a:moveTo>
                    <a:pt x="531841" y="0"/>
                  </a:moveTo>
                  <a:cubicBezTo>
                    <a:pt x="531841" y="0"/>
                    <a:pt x="531841" y="0"/>
                    <a:pt x="622984" y="87684"/>
                  </a:cubicBezTo>
                  <a:cubicBezTo>
                    <a:pt x="622984" y="87684"/>
                    <a:pt x="622984" y="87684"/>
                    <a:pt x="463289" y="247465"/>
                  </a:cubicBezTo>
                  <a:cubicBezTo>
                    <a:pt x="450436" y="247465"/>
                    <a:pt x="434077" y="250582"/>
                    <a:pt x="424339" y="257207"/>
                  </a:cubicBezTo>
                  <a:lnTo>
                    <a:pt x="362409" y="198751"/>
                  </a:lnTo>
                  <a:cubicBezTo>
                    <a:pt x="372147" y="189009"/>
                    <a:pt x="375263" y="172641"/>
                    <a:pt x="375263" y="159391"/>
                  </a:cubicBezTo>
                  <a:cubicBezTo>
                    <a:pt x="375263" y="159391"/>
                    <a:pt x="375263" y="159391"/>
                    <a:pt x="53184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对话气泡: 矩形 31">
              <a:extLst>
                <a:ext uri="{FF2B5EF4-FFF2-40B4-BE49-F238E27FC236}">
                  <a16:creationId xmlns:a16="http://schemas.microsoft.com/office/drawing/2014/main" id="{2ADD1AAD-BF54-4FFB-B5B7-51C75EBD8019}"/>
                </a:ext>
              </a:extLst>
            </p:cNvPr>
            <p:cNvSpPr/>
            <p:nvPr/>
          </p:nvSpPr>
          <p:spPr>
            <a:xfrm>
              <a:off x="6313971" y="1695852"/>
              <a:ext cx="1429179" cy="571702"/>
            </a:xfrm>
            <a:prstGeom prst="wedgeRectCallout">
              <a:avLst>
                <a:gd name="adj1" fmla="val -37567"/>
                <a:gd name="adj2" fmla="val 78827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r>
                <a:rPr lang="en-US" altLang="zh-HK" sz="1600">
                  <a:solidFill>
                    <a:schemeClr val="bg1"/>
                  </a:solidFill>
                </a:rPr>
                <a:t>+60% </a:t>
              </a:r>
              <a:r>
                <a:rPr lang="en-US" altLang="zh-CN" sz="1600">
                  <a:solidFill>
                    <a:schemeClr val="bg1"/>
                  </a:solidFill>
                </a:rPr>
                <a:t>| T</a:t>
              </a:r>
              <a:r>
                <a:rPr lang="en-US" altLang="zh-CN" sz="100">
                  <a:solidFill>
                    <a:schemeClr val="bg1"/>
                  </a:solidFill>
                </a:rPr>
                <a:t> </a:t>
              </a:r>
              <a:r>
                <a:rPr lang="en-US" altLang="zh-CN" sz="1600">
                  <a:solidFill>
                    <a:schemeClr val="bg1"/>
                  </a:solidFill>
                </a:rPr>
                <a:t>ext</a:t>
              </a:r>
              <a:endParaRPr lang="en-US" altLang="zh-HK" sz="1600">
                <a:solidFill>
                  <a:schemeClr val="bg1"/>
                </a:solidFill>
              </a:endParaRPr>
            </a:p>
          </p:txBody>
        </p:sp>
        <p:sp>
          <p:nvSpPr>
            <p:cNvPr id="33" name="对话气泡: 矩形 32">
              <a:extLst>
                <a:ext uri="{FF2B5EF4-FFF2-40B4-BE49-F238E27FC236}">
                  <a16:creationId xmlns:a16="http://schemas.microsoft.com/office/drawing/2014/main" id="{A7F83535-07CF-41A5-9102-D23C57D1D57E}"/>
                </a:ext>
              </a:extLst>
            </p:cNvPr>
            <p:cNvSpPr/>
            <p:nvPr/>
          </p:nvSpPr>
          <p:spPr>
            <a:xfrm>
              <a:off x="8912727" y="1466810"/>
              <a:ext cx="1429179" cy="571702"/>
            </a:xfrm>
            <a:prstGeom prst="wedgeRectCallout">
              <a:avLst>
                <a:gd name="adj1" fmla="val -37567"/>
                <a:gd name="adj2" fmla="val 78827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rmAutofit/>
            </a:bodyPr>
            <a:lstStyle/>
            <a:p>
              <a:r>
                <a:rPr lang="en-US" altLang="zh-HK" sz="1600">
                  <a:solidFill>
                    <a:schemeClr val="bg1"/>
                  </a:solidFill>
                </a:rPr>
                <a:t>+20% </a:t>
              </a:r>
              <a:r>
                <a:rPr lang="en-US" altLang="zh-CN" sz="1600">
                  <a:solidFill>
                    <a:schemeClr val="bg1"/>
                  </a:solidFill>
                </a:rPr>
                <a:t>| T</a:t>
              </a:r>
              <a:r>
                <a:rPr lang="en-US" altLang="zh-CN" sz="100">
                  <a:solidFill>
                    <a:schemeClr val="bg1"/>
                  </a:solidFill>
                </a:rPr>
                <a:t> </a:t>
              </a:r>
              <a:r>
                <a:rPr lang="en-US" altLang="zh-CN" sz="1600">
                  <a:solidFill>
                    <a:schemeClr val="bg1"/>
                  </a:solidFill>
                </a:rPr>
                <a:t>ext</a:t>
              </a:r>
              <a:endParaRPr lang="en-US" altLang="zh-HK" sz="1600">
                <a:solidFill>
                  <a:schemeClr val="bg1"/>
                </a:solidFill>
              </a:endParaRP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5E0E6F6E-98F5-476A-B126-E5B80D4FBD0B}"/>
                </a:ext>
              </a:extLst>
            </p:cNvPr>
            <p:cNvSpPr txBox="1"/>
            <p:nvPr/>
          </p:nvSpPr>
          <p:spPr bwMode="auto">
            <a:xfrm>
              <a:off x="1523845" y="3663098"/>
              <a:ext cx="1672590" cy="442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anchor="ctr">
              <a:norm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altLang="zh-CN" sz="1600" b="1" dirty="0"/>
                <a:t>…</a:t>
              </a:r>
              <a:r>
                <a:rPr lang="zh-CN" altLang="en-US" sz="1600" b="1" dirty="0"/>
                <a:t>综述</a:t>
              </a: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FBF4E62B-793A-4A15-8099-EDBBA52413FC}"/>
                </a:ext>
              </a:extLst>
            </p:cNvPr>
            <p:cNvSpPr txBox="1"/>
            <p:nvPr/>
          </p:nvSpPr>
          <p:spPr bwMode="auto">
            <a:xfrm>
              <a:off x="4741919" y="4062502"/>
              <a:ext cx="1672590" cy="442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anchor="ctr">
              <a:norm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altLang="zh-CN" sz="1600" b="1" dirty="0"/>
                <a:t>…</a:t>
              </a:r>
              <a:r>
                <a:rPr lang="zh-CN" altLang="en-US" sz="1600" b="1" dirty="0"/>
                <a:t>综述</a:t>
              </a: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D0D4D9FE-2039-4A7A-B5A3-E9B2648B60A4}"/>
                </a:ext>
              </a:extLst>
            </p:cNvPr>
            <p:cNvSpPr txBox="1"/>
            <p:nvPr/>
          </p:nvSpPr>
          <p:spPr bwMode="auto">
            <a:xfrm>
              <a:off x="6731612" y="3787697"/>
              <a:ext cx="1672590" cy="442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anchor="ctr">
              <a:norm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en-US" altLang="zh-CN" sz="1600" b="1" dirty="0"/>
                <a:t>…</a:t>
              </a:r>
              <a:r>
                <a:rPr lang="zh-CN" altLang="en-US" sz="1600" b="1" dirty="0"/>
                <a:t>综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14500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研究方法及过程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44772" y="2667679"/>
            <a:ext cx="1861056" cy="161811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1620000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1202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研究方法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0"/>
            <a:ext cx="11522075" cy="6205119"/>
            <a:chOff x="669925" y="0"/>
            <a:chExt cx="11522075" cy="6205119"/>
          </a:xfrm>
        </p:grpSpPr>
        <p:sp>
          <p:nvSpPr>
            <p:cNvPr id="6" name="任意多边形: 形状 5"/>
            <p:cNvSpPr/>
            <p:nvPr/>
          </p:nvSpPr>
          <p:spPr bwMode="auto">
            <a:xfrm>
              <a:off x="5698067" y="0"/>
              <a:ext cx="6493933" cy="5266267"/>
            </a:xfrm>
            <a:custGeom>
              <a:avLst/>
              <a:gdLst>
                <a:gd name="T0" fmla="*/ 1296 w 1296"/>
                <a:gd name="T1" fmla="*/ 0 h 1051"/>
                <a:gd name="T2" fmla="*/ 1098 w 1296"/>
                <a:gd name="T3" fmla="*/ 0 h 1051"/>
                <a:gd name="T4" fmla="*/ 941 w 1296"/>
                <a:gd name="T5" fmla="*/ 311 h 1051"/>
                <a:gd name="T6" fmla="*/ 941 w 1296"/>
                <a:gd name="T7" fmla="*/ 868 h 1051"/>
                <a:gd name="T8" fmla="*/ 875 w 1296"/>
                <a:gd name="T9" fmla="*/ 957 h 1051"/>
                <a:gd name="T10" fmla="*/ 809 w 1296"/>
                <a:gd name="T11" fmla="*/ 868 h 1051"/>
                <a:gd name="T12" fmla="*/ 809 w 1296"/>
                <a:gd name="T13" fmla="*/ 841 h 1051"/>
                <a:gd name="T14" fmla="*/ 453 w 1296"/>
                <a:gd name="T15" fmla="*/ 468 h 1051"/>
                <a:gd name="T16" fmla="*/ 0 w 1296"/>
                <a:gd name="T17" fmla="*/ 468 h 1051"/>
                <a:gd name="T18" fmla="*/ 0 w 1296"/>
                <a:gd name="T19" fmla="*/ 563 h 1051"/>
                <a:gd name="T20" fmla="*/ 119 w 1296"/>
                <a:gd name="T21" fmla="*/ 563 h 1051"/>
                <a:gd name="T22" fmla="*/ 453 w 1296"/>
                <a:gd name="T23" fmla="*/ 563 h 1051"/>
                <a:gd name="T24" fmla="*/ 715 w 1296"/>
                <a:gd name="T25" fmla="*/ 841 h 1051"/>
                <a:gd name="T26" fmla="*/ 715 w 1296"/>
                <a:gd name="T27" fmla="*/ 868 h 1051"/>
                <a:gd name="T28" fmla="*/ 715 w 1296"/>
                <a:gd name="T29" fmla="*/ 868 h 1051"/>
                <a:gd name="T30" fmla="*/ 875 w 1296"/>
                <a:gd name="T31" fmla="*/ 1051 h 1051"/>
                <a:gd name="T32" fmla="*/ 875 w 1296"/>
                <a:gd name="T33" fmla="*/ 1051 h 1051"/>
                <a:gd name="T34" fmla="*/ 875 w 1296"/>
                <a:gd name="T35" fmla="*/ 1051 h 1051"/>
                <a:gd name="T36" fmla="*/ 1036 w 1296"/>
                <a:gd name="T37" fmla="*/ 868 h 1051"/>
                <a:gd name="T38" fmla="*/ 1036 w 1296"/>
                <a:gd name="T39" fmla="*/ 868 h 1051"/>
                <a:gd name="T40" fmla="*/ 1036 w 1296"/>
                <a:gd name="T41" fmla="*/ 311 h 1051"/>
                <a:gd name="T42" fmla="*/ 1036 w 1296"/>
                <a:gd name="T43" fmla="*/ 311 h 1051"/>
                <a:gd name="T44" fmla="*/ 1289 w 1296"/>
                <a:gd name="T45" fmla="*/ 33 h 1051"/>
                <a:gd name="T46" fmla="*/ 1296 w 1296"/>
                <a:gd name="T47" fmla="*/ 33 h 1051"/>
                <a:gd name="T48" fmla="*/ 1296 w 1296"/>
                <a:gd name="T49" fmla="*/ 0 h 1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6" h="1051">
                  <a:moveTo>
                    <a:pt x="1296" y="0"/>
                  </a:moveTo>
                  <a:cubicBezTo>
                    <a:pt x="1098" y="0"/>
                    <a:pt x="1098" y="0"/>
                    <a:pt x="1098" y="0"/>
                  </a:cubicBezTo>
                  <a:cubicBezTo>
                    <a:pt x="1004" y="67"/>
                    <a:pt x="941" y="181"/>
                    <a:pt x="941" y="311"/>
                  </a:cubicBezTo>
                  <a:cubicBezTo>
                    <a:pt x="941" y="868"/>
                    <a:pt x="941" y="868"/>
                    <a:pt x="941" y="868"/>
                  </a:cubicBezTo>
                  <a:cubicBezTo>
                    <a:pt x="941" y="915"/>
                    <a:pt x="910" y="957"/>
                    <a:pt x="875" y="957"/>
                  </a:cubicBezTo>
                  <a:cubicBezTo>
                    <a:pt x="840" y="957"/>
                    <a:pt x="809" y="915"/>
                    <a:pt x="809" y="868"/>
                  </a:cubicBezTo>
                  <a:cubicBezTo>
                    <a:pt x="809" y="841"/>
                    <a:pt x="809" y="841"/>
                    <a:pt x="809" y="841"/>
                  </a:cubicBezTo>
                  <a:cubicBezTo>
                    <a:pt x="809" y="635"/>
                    <a:pt x="649" y="468"/>
                    <a:pt x="453" y="468"/>
                  </a:cubicBezTo>
                  <a:cubicBezTo>
                    <a:pt x="0" y="468"/>
                    <a:pt x="0" y="468"/>
                    <a:pt x="0" y="468"/>
                  </a:cubicBezTo>
                  <a:cubicBezTo>
                    <a:pt x="0" y="563"/>
                    <a:pt x="0" y="563"/>
                    <a:pt x="0" y="563"/>
                  </a:cubicBezTo>
                  <a:cubicBezTo>
                    <a:pt x="119" y="563"/>
                    <a:pt x="119" y="563"/>
                    <a:pt x="119" y="563"/>
                  </a:cubicBezTo>
                  <a:cubicBezTo>
                    <a:pt x="453" y="563"/>
                    <a:pt x="453" y="563"/>
                    <a:pt x="453" y="563"/>
                  </a:cubicBezTo>
                  <a:cubicBezTo>
                    <a:pt x="597" y="563"/>
                    <a:pt x="715" y="688"/>
                    <a:pt x="715" y="841"/>
                  </a:cubicBezTo>
                  <a:cubicBezTo>
                    <a:pt x="715" y="868"/>
                    <a:pt x="715" y="868"/>
                    <a:pt x="715" y="868"/>
                  </a:cubicBezTo>
                  <a:cubicBezTo>
                    <a:pt x="715" y="868"/>
                    <a:pt x="715" y="868"/>
                    <a:pt x="715" y="868"/>
                  </a:cubicBezTo>
                  <a:cubicBezTo>
                    <a:pt x="715" y="967"/>
                    <a:pt x="788" y="1051"/>
                    <a:pt x="875" y="1051"/>
                  </a:cubicBezTo>
                  <a:cubicBezTo>
                    <a:pt x="875" y="1051"/>
                    <a:pt x="875" y="1051"/>
                    <a:pt x="875" y="1051"/>
                  </a:cubicBezTo>
                  <a:cubicBezTo>
                    <a:pt x="875" y="1051"/>
                    <a:pt x="875" y="1051"/>
                    <a:pt x="875" y="1051"/>
                  </a:cubicBezTo>
                  <a:cubicBezTo>
                    <a:pt x="962" y="1051"/>
                    <a:pt x="1036" y="967"/>
                    <a:pt x="1036" y="868"/>
                  </a:cubicBezTo>
                  <a:cubicBezTo>
                    <a:pt x="1036" y="868"/>
                    <a:pt x="1036" y="868"/>
                    <a:pt x="1036" y="868"/>
                  </a:cubicBezTo>
                  <a:cubicBezTo>
                    <a:pt x="1036" y="311"/>
                    <a:pt x="1036" y="311"/>
                    <a:pt x="1036" y="311"/>
                  </a:cubicBezTo>
                  <a:cubicBezTo>
                    <a:pt x="1036" y="311"/>
                    <a:pt x="1036" y="311"/>
                    <a:pt x="1036" y="311"/>
                  </a:cubicBezTo>
                  <a:cubicBezTo>
                    <a:pt x="1036" y="158"/>
                    <a:pt x="1149" y="33"/>
                    <a:pt x="1289" y="33"/>
                  </a:cubicBezTo>
                  <a:cubicBezTo>
                    <a:pt x="1292" y="33"/>
                    <a:pt x="1294" y="33"/>
                    <a:pt x="1296" y="33"/>
                  </a:cubicBezTo>
                  <a:cubicBezTo>
                    <a:pt x="1296" y="0"/>
                    <a:pt x="1296" y="0"/>
                    <a:pt x="1296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7" name="任意多边形: 形状 6"/>
            <p:cNvSpPr/>
            <p:nvPr/>
          </p:nvSpPr>
          <p:spPr bwMode="auto">
            <a:xfrm>
              <a:off x="6896100" y="627702"/>
              <a:ext cx="5295900" cy="5577417"/>
            </a:xfrm>
            <a:custGeom>
              <a:avLst/>
              <a:gdLst>
                <a:gd name="T0" fmla="*/ 1050 w 1057"/>
                <a:gd name="T1" fmla="*/ 0 h 1113"/>
                <a:gd name="T2" fmla="*/ 891 w 1057"/>
                <a:gd name="T3" fmla="*/ 183 h 1113"/>
                <a:gd name="T4" fmla="*/ 891 w 1057"/>
                <a:gd name="T5" fmla="*/ 740 h 1113"/>
                <a:gd name="T6" fmla="*/ 891 w 1057"/>
                <a:gd name="T7" fmla="*/ 740 h 1113"/>
                <a:gd name="T8" fmla="*/ 636 w 1057"/>
                <a:gd name="T9" fmla="*/ 1018 h 1113"/>
                <a:gd name="T10" fmla="*/ 381 w 1057"/>
                <a:gd name="T11" fmla="*/ 740 h 1113"/>
                <a:gd name="T12" fmla="*/ 381 w 1057"/>
                <a:gd name="T13" fmla="*/ 713 h 1113"/>
                <a:gd name="T14" fmla="*/ 214 w 1057"/>
                <a:gd name="T15" fmla="*/ 529 h 1113"/>
                <a:gd name="T16" fmla="*/ 0 w 1057"/>
                <a:gd name="T17" fmla="*/ 529 h 1113"/>
                <a:gd name="T18" fmla="*/ 0 w 1057"/>
                <a:gd name="T19" fmla="*/ 624 h 1113"/>
                <a:gd name="T20" fmla="*/ 214 w 1057"/>
                <a:gd name="T21" fmla="*/ 624 h 1113"/>
                <a:gd name="T22" fmla="*/ 287 w 1057"/>
                <a:gd name="T23" fmla="*/ 713 h 1113"/>
                <a:gd name="T24" fmla="*/ 287 w 1057"/>
                <a:gd name="T25" fmla="*/ 740 h 1113"/>
                <a:gd name="T26" fmla="*/ 636 w 1057"/>
                <a:gd name="T27" fmla="*/ 1113 h 1113"/>
                <a:gd name="T28" fmla="*/ 986 w 1057"/>
                <a:gd name="T29" fmla="*/ 740 h 1113"/>
                <a:gd name="T30" fmla="*/ 986 w 1057"/>
                <a:gd name="T31" fmla="*/ 183 h 1113"/>
                <a:gd name="T32" fmla="*/ 1050 w 1057"/>
                <a:gd name="T33" fmla="*/ 94 h 1113"/>
                <a:gd name="T34" fmla="*/ 1057 w 1057"/>
                <a:gd name="T35" fmla="*/ 95 h 1113"/>
                <a:gd name="T36" fmla="*/ 1057 w 1057"/>
                <a:gd name="T37" fmla="*/ 0 h 1113"/>
                <a:gd name="T38" fmla="*/ 1050 w 1057"/>
                <a:gd name="T39" fmla="*/ 0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7" h="1113">
                  <a:moveTo>
                    <a:pt x="1050" y="0"/>
                  </a:moveTo>
                  <a:cubicBezTo>
                    <a:pt x="962" y="0"/>
                    <a:pt x="891" y="82"/>
                    <a:pt x="891" y="183"/>
                  </a:cubicBezTo>
                  <a:cubicBezTo>
                    <a:pt x="891" y="740"/>
                    <a:pt x="891" y="740"/>
                    <a:pt x="891" y="740"/>
                  </a:cubicBezTo>
                  <a:cubicBezTo>
                    <a:pt x="891" y="740"/>
                    <a:pt x="891" y="740"/>
                    <a:pt x="891" y="740"/>
                  </a:cubicBezTo>
                  <a:cubicBezTo>
                    <a:pt x="891" y="893"/>
                    <a:pt x="777" y="1018"/>
                    <a:pt x="636" y="1018"/>
                  </a:cubicBezTo>
                  <a:cubicBezTo>
                    <a:pt x="495" y="1018"/>
                    <a:pt x="381" y="893"/>
                    <a:pt x="381" y="740"/>
                  </a:cubicBezTo>
                  <a:cubicBezTo>
                    <a:pt x="381" y="713"/>
                    <a:pt x="381" y="713"/>
                    <a:pt x="381" y="713"/>
                  </a:cubicBezTo>
                  <a:cubicBezTo>
                    <a:pt x="381" y="613"/>
                    <a:pt x="305" y="529"/>
                    <a:pt x="214" y="529"/>
                  </a:cubicBezTo>
                  <a:cubicBezTo>
                    <a:pt x="0" y="529"/>
                    <a:pt x="0" y="529"/>
                    <a:pt x="0" y="529"/>
                  </a:cubicBezTo>
                  <a:cubicBezTo>
                    <a:pt x="0" y="624"/>
                    <a:pt x="0" y="624"/>
                    <a:pt x="0" y="624"/>
                  </a:cubicBezTo>
                  <a:cubicBezTo>
                    <a:pt x="214" y="624"/>
                    <a:pt x="214" y="624"/>
                    <a:pt x="214" y="624"/>
                  </a:cubicBezTo>
                  <a:cubicBezTo>
                    <a:pt x="253" y="624"/>
                    <a:pt x="287" y="666"/>
                    <a:pt x="287" y="713"/>
                  </a:cubicBezTo>
                  <a:cubicBezTo>
                    <a:pt x="287" y="740"/>
                    <a:pt x="287" y="740"/>
                    <a:pt x="287" y="740"/>
                  </a:cubicBezTo>
                  <a:cubicBezTo>
                    <a:pt x="287" y="945"/>
                    <a:pt x="443" y="1113"/>
                    <a:pt x="636" y="1113"/>
                  </a:cubicBezTo>
                  <a:cubicBezTo>
                    <a:pt x="829" y="1113"/>
                    <a:pt x="986" y="945"/>
                    <a:pt x="986" y="740"/>
                  </a:cubicBezTo>
                  <a:cubicBezTo>
                    <a:pt x="986" y="183"/>
                    <a:pt x="986" y="183"/>
                    <a:pt x="986" y="183"/>
                  </a:cubicBezTo>
                  <a:cubicBezTo>
                    <a:pt x="986" y="137"/>
                    <a:pt x="1016" y="94"/>
                    <a:pt x="1050" y="94"/>
                  </a:cubicBezTo>
                  <a:cubicBezTo>
                    <a:pt x="1053" y="94"/>
                    <a:pt x="1055" y="95"/>
                    <a:pt x="1057" y="95"/>
                  </a:cubicBezTo>
                  <a:cubicBezTo>
                    <a:pt x="1057" y="0"/>
                    <a:pt x="1057" y="0"/>
                    <a:pt x="1057" y="0"/>
                  </a:cubicBezTo>
                  <a:cubicBezTo>
                    <a:pt x="1055" y="0"/>
                    <a:pt x="1053" y="0"/>
                    <a:pt x="1050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8" name="任意多边形: 形状 7"/>
            <p:cNvSpPr/>
            <p:nvPr/>
          </p:nvSpPr>
          <p:spPr bwMode="auto">
            <a:xfrm>
              <a:off x="6294967" y="151452"/>
              <a:ext cx="5897033" cy="5577417"/>
            </a:xfrm>
            <a:custGeom>
              <a:avLst/>
              <a:gdLst>
                <a:gd name="T0" fmla="*/ 1170 w 1177"/>
                <a:gd name="T1" fmla="*/ 0 h 1113"/>
                <a:gd name="T2" fmla="*/ 917 w 1177"/>
                <a:gd name="T3" fmla="*/ 278 h 1113"/>
                <a:gd name="T4" fmla="*/ 917 w 1177"/>
                <a:gd name="T5" fmla="*/ 278 h 1113"/>
                <a:gd name="T6" fmla="*/ 917 w 1177"/>
                <a:gd name="T7" fmla="*/ 835 h 1113"/>
                <a:gd name="T8" fmla="*/ 917 w 1177"/>
                <a:gd name="T9" fmla="*/ 835 h 1113"/>
                <a:gd name="T10" fmla="*/ 917 w 1177"/>
                <a:gd name="T11" fmla="*/ 835 h 1113"/>
                <a:gd name="T12" fmla="*/ 756 w 1177"/>
                <a:gd name="T13" fmla="*/ 1018 h 1113"/>
                <a:gd name="T14" fmla="*/ 756 w 1177"/>
                <a:gd name="T15" fmla="*/ 1018 h 1113"/>
                <a:gd name="T16" fmla="*/ 756 w 1177"/>
                <a:gd name="T17" fmla="*/ 1018 h 1113"/>
                <a:gd name="T18" fmla="*/ 596 w 1177"/>
                <a:gd name="T19" fmla="*/ 835 h 1113"/>
                <a:gd name="T20" fmla="*/ 596 w 1177"/>
                <a:gd name="T21" fmla="*/ 835 h 1113"/>
                <a:gd name="T22" fmla="*/ 596 w 1177"/>
                <a:gd name="T23" fmla="*/ 808 h 1113"/>
                <a:gd name="T24" fmla="*/ 334 w 1177"/>
                <a:gd name="T25" fmla="*/ 530 h 1113"/>
                <a:gd name="T26" fmla="*/ 0 w 1177"/>
                <a:gd name="T27" fmla="*/ 530 h 1113"/>
                <a:gd name="T28" fmla="*/ 0 w 1177"/>
                <a:gd name="T29" fmla="*/ 624 h 1113"/>
                <a:gd name="T30" fmla="*/ 334 w 1177"/>
                <a:gd name="T31" fmla="*/ 624 h 1113"/>
                <a:gd name="T32" fmla="*/ 501 w 1177"/>
                <a:gd name="T33" fmla="*/ 808 h 1113"/>
                <a:gd name="T34" fmla="*/ 501 w 1177"/>
                <a:gd name="T35" fmla="*/ 835 h 1113"/>
                <a:gd name="T36" fmla="*/ 756 w 1177"/>
                <a:gd name="T37" fmla="*/ 1113 h 1113"/>
                <a:gd name="T38" fmla="*/ 1011 w 1177"/>
                <a:gd name="T39" fmla="*/ 835 h 1113"/>
                <a:gd name="T40" fmla="*/ 1011 w 1177"/>
                <a:gd name="T41" fmla="*/ 835 h 1113"/>
                <a:gd name="T42" fmla="*/ 1011 w 1177"/>
                <a:gd name="T43" fmla="*/ 278 h 1113"/>
                <a:gd name="T44" fmla="*/ 1170 w 1177"/>
                <a:gd name="T45" fmla="*/ 95 h 1113"/>
                <a:gd name="T46" fmla="*/ 1177 w 1177"/>
                <a:gd name="T47" fmla="*/ 95 h 1113"/>
                <a:gd name="T48" fmla="*/ 1177 w 1177"/>
                <a:gd name="T49" fmla="*/ 0 h 1113"/>
                <a:gd name="T50" fmla="*/ 1177 w 1177"/>
                <a:gd name="T51" fmla="*/ 0 h 1113"/>
                <a:gd name="T52" fmla="*/ 1170 w 1177"/>
                <a:gd name="T53" fmla="*/ 0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77" h="1113">
                  <a:moveTo>
                    <a:pt x="1170" y="0"/>
                  </a:moveTo>
                  <a:cubicBezTo>
                    <a:pt x="1030" y="0"/>
                    <a:pt x="917" y="125"/>
                    <a:pt x="917" y="278"/>
                  </a:cubicBezTo>
                  <a:cubicBezTo>
                    <a:pt x="917" y="278"/>
                    <a:pt x="917" y="278"/>
                    <a:pt x="917" y="278"/>
                  </a:cubicBezTo>
                  <a:cubicBezTo>
                    <a:pt x="917" y="835"/>
                    <a:pt x="917" y="835"/>
                    <a:pt x="917" y="835"/>
                  </a:cubicBezTo>
                  <a:cubicBezTo>
                    <a:pt x="917" y="835"/>
                    <a:pt x="917" y="835"/>
                    <a:pt x="917" y="835"/>
                  </a:cubicBezTo>
                  <a:cubicBezTo>
                    <a:pt x="917" y="835"/>
                    <a:pt x="917" y="835"/>
                    <a:pt x="917" y="835"/>
                  </a:cubicBezTo>
                  <a:cubicBezTo>
                    <a:pt x="917" y="936"/>
                    <a:pt x="845" y="1018"/>
                    <a:pt x="756" y="1018"/>
                  </a:cubicBezTo>
                  <a:cubicBezTo>
                    <a:pt x="756" y="1018"/>
                    <a:pt x="756" y="1018"/>
                    <a:pt x="756" y="1018"/>
                  </a:cubicBezTo>
                  <a:cubicBezTo>
                    <a:pt x="756" y="1018"/>
                    <a:pt x="756" y="1018"/>
                    <a:pt x="756" y="1018"/>
                  </a:cubicBezTo>
                  <a:cubicBezTo>
                    <a:pt x="668" y="1018"/>
                    <a:pt x="596" y="936"/>
                    <a:pt x="596" y="835"/>
                  </a:cubicBezTo>
                  <a:cubicBezTo>
                    <a:pt x="596" y="835"/>
                    <a:pt x="596" y="835"/>
                    <a:pt x="596" y="835"/>
                  </a:cubicBezTo>
                  <a:cubicBezTo>
                    <a:pt x="596" y="808"/>
                    <a:pt x="596" y="808"/>
                    <a:pt x="596" y="808"/>
                  </a:cubicBezTo>
                  <a:cubicBezTo>
                    <a:pt x="596" y="655"/>
                    <a:pt x="478" y="530"/>
                    <a:pt x="334" y="530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0" y="624"/>
                    <a:pt x="0" y="624"/>
                    <a:pt x="0" y="624"/>
                  </a:cubicBezTo>
                  <a:cubicBezTo>
                    <a:pt x="334" y="624"/>
                    <a:pt x="334" y="624"/>
                    <a:pt x="334" y="624"/>
                  </a:cubicBezTo>
                  <a:cubicBezTo>
                    <a:pt x="426" y="624"/>
                    <a:pt x="501" y="707"/>
                    <a:pt x="501" y="808"/>
                  </a:cubicBezTo>
                  <a:cubicBezTo>
                    <a:pt x="501" y="835"/>
                    <a:pt x="501" y="835"/>
                    <a:pt x="501" y="835"/>
                  </a:cubicBezTo>
                  <a:cubicBezTo>
                    <a:pt x="501" y="988"/>
                    <a:pt x="615" y="1113"/>
                    <a:pt x="756" y="1113"/>
                  </a:cubicBezTo>
                  <a:cubicBezTo>
                    <a:pt x="897" y="1113"/>
                    <a:pt x="1011" y="988"/>
                    <a:pt x="1011" y="835"/>
                  </a:cubicBezTo>
                  <a:cubicBezTo>
                    <a:pt x="1011" y="835"/>
                    <a:pt x="1011" y="835"/>
                    <a:pt x="1011" y="835"/>
                  </a:cubicBezTo>
                  <a:cubicBezTo>
                    <a:pt x="1011" y="278"/>
                    <a:pt x="1011" y="278"/>
                    <a:pt x="1011" y="278"/>
                  </a:cubicBezTo>
                  <a:cubicBezTo>
                    <a:pt x="1011" y="177"/>
                    <a:pt x="1082" y="95"/>
                    <a:pt x="1170" y="95"/>
                  </a:cubicBezTo>
                  <a:cubicBezTo>
                    <a:pt x="1173" y="95"/>
                    <a:pt x="1175" y="95"/>
                    <a:pt x="1177" y="95"/>
                  </a:cubicBezTo>
                  <a:cubicBezTo>
                    <a:pt x="1177" y="0"/>
                    <a:pt x="1177" y="0"/>
                    <a:pt x="1177" y="0"/>
                  </a:cubicBezTo>
                  <a:cubicBezTo>
                    <a:pt x="1177" y="0"/>
                    <a:pt x="1177" y="0"/>
                    <a:pt x="1177" y="0"/>
                  </a:cubicBezTo>
                  <a:cubicBezTo>
                    <a:pt x="1175" y="0"/>
                    <a:pt x="1173" y="0"/>
                    <a:pt x="1170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9" name="任意多边形: 形状 8"/>
            <p:cNvSpPr/>
            <p:nvPr/>
          </p:nvSpPr>
          <p:spPr bwMode="auto">
            <a:xfrm>
              <a:off x="5731914" y="2871577"/>
              <a:ext cx="420178" cy="327666"/>
            </a:xfrm>
            <a:custGeom>
              <a:avLst/>
              <a:gdLst>
                <a:gd name="connsiteX0" fmla="*/ 60518 w 609619"/>
                <a:gd name="connsiteY0" fmla="*/ 127957 h 475399"/>
                <a:gd name="connsiteX1" fmla="*/ 29630 w 609619"/>
                <a:gd name="connsiteY1" fmla="*/ 131041 h 475399"/>
                <a:gd name="connsiteX2" fmla="*/ 34109 w 609619"/>
                <a:gd name="connsiteY2" fmla="*/ 174921 h 475399"/>
                <a:gd name="connsiteX3" fmla="*/ 311732 w 609619"/>
                <a:gd name="connsiteY3" fmla="*/ 211665 h 475399"/>
                <a:gd name="connsiteX4" fmla="*/ 277709 w 609619"/>
                <a:gd name="connsiteY4" fmla="*/ 157987 h 475399"/>
                <a:gd name="connsiteX5" fmla="*/ 60518 w 609619"/>
                <a:gd name="connsiteY5" fmla="*/ 127957 h 475399"/>
                <a:gd name="connsiteX6" fmla="*/ 80398 w 609619"/>
                <a:gd name="connsiteY6" fmla="*/ 98943 h 475399"/>
                <a:gd name="connsiteX7" fmla="*/ 290614 w 609619"/>
                <a:gd name="connsiteY7" fmla="*/ 132106 h 475399"/>
                <a:gd name="connsiteX8" fmla="*/ 298827 w 609619"/>
                <a:gd name="connsiteY8" fmla="*/ 138177 h 475399"/>
                <a:gd name="connsiteX9" fmla="*/ 358980 w 609619"/>
                <a:gd name="connsiteY9" fmla="*/ 233073 h 475399"/>
                <a:gd name="connsiteX10" fmla="*/ 579649 w 609619"/>
                <a:gd name="connsiteY10" fmla="*/ 374831 h 475399"/>
                <a:gd name="connsiteX11" fmla="*/ 591168 w 609619"/>
                <a:gd name="connsiteY11" fmla="*/ 367269 h 475399"/>
                <a:gd name="connsiteX12" fmla="*/ 609619 w 609619"/>
                <a:gd name="connsiteY12" fmla="*/ 374831 h 475399"/>
                <a:gd name="connsiteX13" fmla="*/ 526429 w 609619"/>
                <a:gd name="connsiteY13" fmla="*/ 475372 h 475399"/>
                <a:gd name="connsiteX14" fmla="*/ 140124 w 609619"/>
                <a:gd name="connsiteY14" fmla="*/ 475372 h 475399"/>
                <a:gd name="connsiteX15" fmla="*/ 117407 w 609619"/>
                <a:gd name="connsiteY15" fmla="*/ 419457 h 475399"/>
                <a:gd name="connsiteX16" fmla="*/ 2220 w 609619"/>
                <a:gd name="connsiteY16" fmla="*/ 209855 h 475399"/>
                <a:gd name="connsiteX17" fmla="*/ 6806 w 609619"/>
                <a:gd name="connsiteY17" fmla="*/ 186850 h 475399"/>
                <a:gd name="connsiteX18" fmla="*/ 86 w 609619"/>
                <a:gd name="connsiteY18" fmla="*/ 121136 h 475399"/>
                <a:gd name="connsiteX19" fmla="*/ 10005 w 609619"/>
                <a:gd name="connsiteY19" fmla="*/ 106119 h 475399"/>
                <a:gd name="connsiteX20" fmla="*/ 80398 w 609619"/>
                <a:gd name="connsiteY20" fmla="*/ 98943 h 475399"/>
                <a:gd name="connsiteX21" fmla="*/ 457868 w 609619"/>
                <a:gd name="connsiteY21" fmla="*/ 0 h 475399"/>
                <a:gd name="connsiteX22" fmla="*/ 477707 w 609619"/>
                <a:gd name="connsiteY22" fmla="*/ 0 h 475399"/>
                <a:gd name="connsiteX23" fmla="*/ 481334 w 609619"/>
                <a:gd name="connsiteY23" fmla="*/ 3408 h 475399"/>
                <a:gd name="connsiteX24" fmla="*/ 481974 w 609619"/>
                <a:gd name="connsiteY24" fmla="*/ 24815 h 475399"/>
                <a:gd name="connsiteX25" fmla="*/ 509387 w 609619"/>
                <a:gd name="connsiteY25" fmla="*/ 24815 h 475399"/>
                <a:gd name="connsiteX26" fmla="*/ 516533 w 609619"/>
                <a:gd name="connsiteY26" fmla="*/ 31951 h 475399"/>
                <a:gd name="connsiteX27" fmla="*/ 509387 w 609619"/>
                <a:gd name="connsiteY27" fmla="*/ 38980 h 475399"/>
                <a:gd name="connsiteX28" fmla="*/ 482507 w 609619"/>
                <a:gd name="connsiteY28" fmla="*/ 38980 h 475399"/>
                <a:gd name="connsiteX29" fmla="*/ 485814 w 609619"/>
                <a:gd name="connsiteY29" fmla="*/ 142502 h 475399"/>
                <a:gd name="connsiteX30" fmla="*/ 540747 w 609619"/>
                <a:gd name="connsiteY30" fmla="*/ 142502 h 475399"/>
                <a:gd name="connsiteX31" fmla="*/ 550773 w 609619"/>
                <a:gd name="connsiteY31" fmla="*/ 146655 h 475399"/>
                <a:gd name="connsiteX32" fmla="*/ 578186 w 609619"/>
                <a:gd name="connsiteY32" fmla="*/ 174027 h 475399"/>
                <a:gd name="connsiteX33" fmla="*/ 582346 w 609619"/>
                <a:gd name="connsiteY33" fmla="*/ 184038 h 475399"/>
                <a:gd name="connsiteX34" fmla="*/ 582346 w 609619"/>
                <a:gd name="connsiteY34" fmla="*/ 353911 h 475399"/>
                <a:gd name="connsiteX35" fmla="*/ 578293 w 609619"/>
                <a:gd name="connsiteY35" fmla="*/ 354976 h 475399"/>
                <a:gd name="connsiteX36" fmla="*/ 376268 w 609619"/>
                <a:gd name="connsiteY36" fmla="*/ 222593 h 475399"/>
                <a:gd name="connsiteX37" fmla="*/ 376268 w 609619"/>
                <a:gd name="connsiteY37" fmla="*/ 185529 h 475399"/>
                <a:gd name="connsiteX38" fmla="*/ 357389 w 609619"/>
                <a:gd name="connsiteY38" fmla="*/ 166785 h 475399"/>
                <a:gd name="connsiteX39" fmla="*/ 354295 w 609619"/>
                <a:gd name="connsiteY39" fmla="*/ 151342 h 475399"/>
                <a:gd name="connsiteX40" fmla="*/ 367415 w 609619"/>
                <a:gd name="connsiteY40" fmla="*/ 142502 h 475399"/>
                <a:gd name="connsiteX41" fmla="*/ 449761 w 609619"/>
                <a:gd name="connsiteY41" fmla="*/ 142502 h 475399"/>
                <a:gd name="connsiteX42" fmla="*/ 453068 w 609619"/>
                <a:gd name="connsiteY42" fmla="*/ 38980 h 475399"/>
                <a:gd name="connsiteX43" fmla="*/ 426188 w 609619"/>
                <a:gd name="connsiteY43" fmla="*/ 38980 h 475399"/>
                <a:gd name="connsiteX44" fmla="*/ 419041 w 609619"/>
                <a:gd name="connsiteY44" fmla="*/ 31951 h 475399"/>
                <a:gd name="connsiteX45" fmla="*/ 426188 w 609619"/>
                <a:gd name="connsiteY45" fmla="*/ 24815 h 475399"/>
                <a:gd name="connsiteX46" fmla="*/ 453601 w 609619"/>
                <a:gd name="connsiteY46" fmla="*/ 24815 h 475399"/>
                <a:gd name="connsiteX47" fmla="*/ 454241 w 609619"/>
                <a:gd name="connsiteY47" fmla="*/ 3408 h 475399"/>
                <a:gd name="connsiteX48" fmla="*/ 457868 w 609619"/>
                <a:gd name="connsiteY48" fmla="*/ 0 h 47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9619" h="475399">
                  <a:moveTo>
                    <a:pt x="60518" y="127957"/>
                  </a:moveTo>
                  <a:cubicBezTo>
                    <a:pt x="46875" y="128625"/>
                    <a:pt x="36616" y="129896"/>
                    <a:pt x="29630" y="131041"/>
                  </a:cubicBezTo>
                  <a:lnTo>
                    <a:pt x="34109" y="174921"/>
                  </a:lnTo>
                  <a:cubicBezTo>
                    <a:pt x="86584" y="163845"/>
                    <a:pt x="293814" y="201015"/>
                    <a:pt x="311732" y="211665"/>
                  </a:cubicBezTo>
                  <a:lnTo>
                    <a:pt x="277709" y="157987"/>
                  </a:lnTo>
                  <a:cubicBezTo>
                    <a:pt x="172841" y="129390"/>
                    <a:pt x="101449" y="125955"/>
                    <a:pt x="60518" y="127957"/>
                  </a:cubicBezTo>
                  <a:close/>
                  <a:moveTo>
                    <a:pt x="80398" y="98943"/>
                  </a:moveTo>
                  <a:cubicBezTo>
                    <a:pt x="126339" y="98983"/>
                    <a:pt x="195585" y="105746"/>
                    <a:pt x="290614" y="132106"/>
                  </a:cubicBezTo>
                  <a:cubicBezTo>
                    <a:pt x="293921" y="133065"/>
                    <a:pt x="296907" y="135195"/>
                    <a:pt x="298827" y="138177"/>
                  </a:cubicBezTo>
                  <a:lnTo>
                    <a:pt x="358980" y="233073"/>
                  </a:lnTo>
                  <a:cubicBezTo>
                    <a:pt x="466382" y="286006"/>
                    <a:pt x="561411" y="361198"/>
                    <a:pt x="579649" y="374831"/>
                  </a:cubicBezTo>
                  <a:cubicBezTo>
                    <a:pt x="582956" y="377174"/>
                    <a:pt x="591168" y="367269"/>
                    <a:pt x="591168" y="367269"/>
                  </a:cubicBezTo>
                  <a:cubicBezTo>
                    <a:pt x="591168" y="367269"/>
                    <a:pt x="609726" y="366417"/>
                    <a:pt x="609619" y="374831"/>
                  </a:cubicBezTo>
                  <a:cubicBezTo>
                    <a:pt x="609299" y="479845"/>
                    <a:pt x="540827" y="475372"/>
                    <a:pt x="526429" y="475372"/>
                  </a:cubicBezTo>
                  <a:lnTo>
                    <a:pt x="140124" y="475372"/>
                  </a:lnTo>
                  <a:cubicBezTo>
                    <a:pt x="71865" y="475372"/>
                    <a:pt x="81997" y="419457"/>
                    <a:pt x="117407" y="419457"/>
                  </a:cubicBezTo>
                  <a:cubicBezTo>
                    <a:pt x="73572" y="356406"/>
                    <a:pt x="38482" y="310502"/>
                    <a:pt x="2220" y="209855"/>
                  </a:cubicBezTo>
                  <a:cubicBezTo>
                    <a:pt x="-1300" y="200376"/>
                    <a:pt x="620" y="192707"/>
                    <a:pt x="6806" y="186850"/>
                  </a:cubicBezTo>
                  <a:lnTo>
                    <a:pt x="86" y="121136"/>
                  </a:lnTo>
                  <a:cubicBezTo>
                    <a:pt x="-660" y="114426"/>
                    <a:pt x="3499" y="108142"/>
                    <a:pt x="10005" y="106119"/>
                  </a:cubicBezTo>
                  <a:cubicBezTo>
                    <a:pt x="11819" y="105586"/>
                    <a:pt x="34456" y="98903"/>
                    <a:pt x="80398" y="98943"/>
                  </a:cubicBezTo>
                  <a:close/>
                  <a:moveTo>
                    <a:pt x="457868" y="0"/>
                  </a:moveTo>
                  <a:lnTo>
                    <a:pt x="477707" y="0"/>
                  </a:lnTo>
                  <a:cubicBezTo>
                    <a:pt x="479627" y="0"/>
                    <a:pt x="481227" y="1491"/>
                    <a:pt x="481334" y="3408"/>
                  </a:cubicBezTo>
                  <a:lnTo>
                    <a:pt x="481974" y="24815"/>
                  </a:lnTo>
                  <a:lnTo>
                    <a:pt x="509387" y="24815"/>
                  </a:lnTo>
                  <a:cubicBezTo>
                    <a:pt x="513334" y="24815"/>
                    <a:pt x="516533" y="28010"/>
                    <a:pt x="516533" y="31951"/>
                  </a:cubicBezTo>
                  <a:cubicBezTo>
                    <a:pt x="516533" y="35785"/>
                    <a:pt x="513334" y="38980"/>
                    <a:pt x="509387" y="38980"/>
                  </a:cubicBezTo>
                  <a:lnTo>
                    <a:pt x="482507" y="38980"/>
                  </a:lnTo>
                  <a:lnTo>
                    <a:pt x="485814" y="142502"/>
                  </a:lnTo>
                  <a:lnTo>
                    <a:pt x="540747" y="142502"/>
                  </a:lnTo>
                  <a:cubicBezTo>
                    <a:pt x="544480" y="142502"/>
                    <a:pt x="548106" y="143993"/>
                    <a:pt x="550773" y="146655"/>
                  </a:cubicBezTo>
                  <a:lnTo>
                    <a:pt x="578186" y="174027"/>
                  </a:lnTo>
                  <a:cubicBezTo>
                    <a:pt x="580853" y="176689"/>
                    <a:pt x="582346" y="180311"/>
                    <a:pt x="582346" y="184038"/>
                  </a:cubicBezTo>
                  <a:lnTo>
                    <a:pt x="582346" y="353911"/>
                  </a:lnTo>
                  <a:cubicBezTo>
                    <a:pt x="580746" y="354976"/>
                    <a:pt x="579146" y="355509"/>
                    <a:pt x="578293" y="354976"/>
                  </a:cubicBezTo>
                  <a:cubicBezTo>
                    <a:pt x="561013" y="342090"/>
                    <a:pt x="475787" y="274673"/>
                    <a:pt x="376268" y="222593"/>
                  </a:cubicBezTo>
                  <a:lnTo>
                    <a:pt x="376268" y="185529"/>
                  </a:lnTo>
                  <a:lnTo>
                    <a:pt x="357389" y="166785"/>
                  </a:lnTo>
                  <a:cubicBezTo>
                    <a:pt x="353335" y="162738"/>
                    <a:pt x="352162" y="156560"/>
                    <a:pt x="354295" y="151342"/>
                  </a:cubicBezTo>
                  <a:cubicBezTo>
                    <a:pt x="356535" y="146016"/>
                    <a:pt x="361655" y="142502"/>
                    <a:pt x="367415" y="142502"/>
                  </a:cubicBezTo>
                  <a:lnTo>
                    <a:pt x="449761" y="142502"/>
                  </a:lnTo>
                  <a:lnTo>
                    <a:pt x="453068" y="38980"/>
                  </a:lnTo>
                  <a:lnTo>
                    <a:pt x="426188" y="38980"/>
                  </a:lnTo>
                  <a:cubicBezTo>
                    <a:pt x="422241" y="38980"/>
                    <a:pt x="419041" y="35785"/>
                    <a:pt x="419041" y="31951"/>
                  </a:cubicBezTo>
                  <a:cubicBezTo>
                    <a:pt x="419041" y="28010"/>
                    <a:pt x="422241" y="24815"/>
                    <a:pt x="426188" y="24815"/>
                  </a:cubicBezTo>
                  <a:lnTo>
                    <a:pt x="453601" y="24815"/>
                  </a:lnTo>
                  <a:lnTo>
                    <a:pt x="454241" y="3408"/>
                  </a:lnTo>
                  <a:cubicBezTo>
                    <a:pt x="454348" y="1491"/>
                    <a:pt x="455948" y="0"/>
                    <a:pt x="457868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3765"/>
              <a:endParaRPr/>
            </a:p>
          </p:txBody>
        </p:sp>
        <p:sp>
          <p:nvSpPr>
            <p:cNvPr id="10" name="任意多边形: 形状 9"/>
            <p:cNvSpPr/>
            <p:nvPr/>
          </p:nvSpPr>
          <p:spPr bwMode="auto">
            <a:xfrm flipH="1">
              <a:off x="6284845" y="3363561"/>
              <a:ext cx="468380" cy="296198"/>
            </a:xfrm>
            <a:custGeom>
              <a:avLst/>
              <a:gdLst>
                <a:gd name="connsiteX0" fmla="*/ 502178 w 608697"/>
                <a:gd name="connsiteY0" fmla="*/ 318048 h 384934"/>
                <a:gd name="connsiteX1" fmla="*/ 486964 w 608697"/>
                <a:gd name="connsiteY1" fmla="*/ 333243 h 384934"/>
                <a:gd name="connsiteX2" fmla="*/ 502178 w 608697"/>
                <a:gd name="connsiteY2" fmla="*/ 348438 h 384934"/>
                <a:gd name="connsiteX3" fmla="*/ 517393 w 608697"/>
                <a:gd name="connsiteY3" fmla="*/ 333243 h 384934"/>
                <a:gd name="connsiteX4" fmla="*/ 502178 w 608697"/>
                <a:gd name="connsiteY4" fmla="*/ 318048 h 384934"/>
                <a:gd name="connsiteX5" fmla="*/ 124797 w 608697"/>
                <a:gd name="connsiteY5" fmla="*/ 318048 h 384934"/>
                <a:gd name="connsiteX6" fmla="*/ 109582 w 608697"/>
                <a:gd name="connsiteY6" fmla="*/ 333243 h 384934"/>
                <a:gd name="connsiteX7" fmla="*/ 124797 w 608697"/>
                <a:gd name="connsiteY7" fmla="*/ 348438 h 384934"/>
                <a:gd name="connsiteX8" fmla="*/ 140012 w 608697"/>
                <a:gd name="connsiteY8" fmla="*/ 333243 h 384934"/>
                <a:gd name="connsiteX9" fmla="*/ 124797 w 608697"/>
                <a:gd name="connsiteY9" fmla="*/ 318048 h 384934"/>
                <a:gd name="connsiteX10" fmla="*/ 502178 w 608697"/>
                <a:gd name="connsiteY10" fmla="*/ 281626 h 384934"/>
                <a:gd name="connsiteX11" fmla="*/ 553938 w 608697"/>
                <a:gd name="connsiteY11" fmla="*/ 333243 h 384934"/>
                <a:gd name="connsiteX12" fmla="*/ 502178 w 608697"/>
                <a:gd name="connsiteY12" fmla="*/ 384934 h 384934"/>
                <a:gd name="connsiteX13" fmla="*/ 450419 w 608697"/>
                <a:gd name="connsiteY13" fmla="*/ 333243 h 384934"/>
                <a:gd name="connsiteX14" fmla="*/ 502178 w 608697"/>
                <a:gd name="connsiteY14" fmla="*/ 281626 h 384934"/>
                <a:gd name="connsiteX15" fmla="*/ 124797 w 608697"/>
                <a:gd name="connsiteY15" fmla="*/ 281626 h 384934"/>
                <a:gd name="connsiteX16" fmla="*/ 176484 w 608697"/>
                <a:gd name="connsiteY16" fmla="*/ 333243 h 384934"/>
                <a:gd name="connsiteX17" fmla="*/ 124797 w 608697"/>
                <a:gd name="connsiteY17" fmla="*/ 384934 h 384934"/>
                <a:gd name="connsiteX18" fmla="*/ 73035 w 608697"/>
                <a:gd name="connsiteY18" fmla="*/ 333243 h 384934"/>
                <a:gd name="connsiteX19" fmla="*/ 124797 w 608697"/>
                <a:gd name="connsiteY19" fmla="*/ 281626 h 384934"/>
                <a:gd name="connsiteX20" fmla="*/ 432210 w 608697"/>
                <a:gd name="connsiteY20" fmla="*/ 91179 h 384934"/>
                <a:gd name="connsiteX21" fmla="*/ 419977 w 608697"/>
                <a:gd name="connsiteY21" fmla="*/ 103320 h 384934"/>
                <a:gd name="connsiteX22" fmla="*/ 419977 w 608697"/>
                <a:gd name="connsiteY22" fmla="*/ 164103 h 384934"/>
                <a:gd name="connsiteX23" fmla="*/ 432210 w 608697"/>
                <a:gd name="connsiteY23" fmla="*/ 176244 h 384934"/>
                <a:gd name="connsiteX24" fmla="*/ 536491 w 608697"/>
                <a:gd name="connsiteY24" fmla="*/ 176244 h 384934"/>
                <a:gd name="connsiteX25" fmla="*/ 545890 w 608697"/>
                <a:gd name="connsiteY25" fmla="*/ 156356 h 384934"/>
                <a:gd name="connsiteX26" fmla="*/ 495167 w 608697"/>
                <a:gd name="connsiteY26" fmla="*/ 95574 h 384934"/>
                <a:gd name="connsiteX27" fmla="*/ 485768 w 608697"/>
                <a:gd name="connsiteY27" fmla="*/ 91179 h 384934"/>
                <a:gd name="connsiteX28" fmla="*/ 407819 w 608697"/>
                <a:gd name="connsiteY28" fmla="*/ 66896 h 384934"/>
                <a:gd name="connsiteX29" fmla="*/ 497255 w 608697"/>
                <a:gd name="connsiteY29" fmla="*/ 66896 h 384934"/>
                <a:gd name="connsiteX30" fmla="*/ 506579 w 608697"/>
                <a:gd name="connsiteY30" fmla="*/ 71216 h 384934"/>
                <a:gd name="connsiteX31" fmla="*/ 605862 w 608697"/>
                <a:gd name="connsiteY31" fmla="*/ 189727 h 384934"/>
                <a:gd name="connsiteX32" fmla="*/ 608697 w 608697"/>
                <a:gd name="connsiteY32" fmla="*/ 197548 h 384934"/>
                <a:gd name="connsiteX33" fmla="*/ 608697 w 608697"/>
                <a:gd name="connsiteY33" fmla="*/ 316059 h 384934"/>
                <a:gd name="connsiteX34" fmla="*/ 596538 w 608697"/>
                <a:gd name="connsiteY34" fmla="*/ 328200 h 384934"/>
                <a:gd name="connsiteX35" fmla="*/ 583634 w 608697"/>
                <a:gd name="connsiteY35" fmla="*/ 328200 h 384934"/>
                <a:gd name="connsiteX36" fmla="*/ 571475 w 608697"/>
                <a:gd name="connsiteY36" fmla="*/ 317921 h 384934"/>
                <a:gd name="connsiteX37" fmla="*/ 502178 w 608697"/>
                <a:gd name="connsiteY37" fmla="*/ 258702 h 384934"/>
                <a:gd name="connsiteX38" fmla="*/ 432882 w 608697"/>
                <a:gd name="connsiteY38" fmla="*/ 317921 h 384934"/>
                <a:gd name="connsiteX39" fmla="*/ 420723 w 608697"/>
                <a:gd name="connsiteY39" fmla="*/ 328200 h 384934"/>
                <a:gd name="connsiteX40" fmla="*/ 407819 w 608697"/>
                <a:gd name="connsiteY40" fmla="*/ 328200 h 384934"/>
                <a:gd name="connsiteX41" fmla="*/ 395660 w 608697"/>
                <a:gd name="connsiteY41" fmla="*/ 316059 h 384934"/>
                <a:gd name="connsiteX42" fmla="*/ 395660 w 608697"/>
                <a:gd name="connsiteY42" fmla="*/ 79037 h 384934"/>
                <a:gd name="connsiteX43" fmla="*/ 407819 w 608697"/>
                <a:gd name="connsiteY43" fmla="*/ 66896 h 384934"/>
                <a:gd name="connsiteX44" fmla="*/ 12158 w 608697"/>
                <a:gd name="connsiteY44" fmla="*/ 0 h 384934"/>
                <a:gd name="connsiteX45" fmla="*/ 359082 w 608697"/>
                <a:gd name="connsiteY45" fmla="*/ 0 h 384934"/>
                <a:gd name="connsiteX46" fmla="*/ 371315 w 608697"/>
                <a:gd name="connsiteY46" fmla="*/ 12141 h 384934"/>
                <a:gd name="connsiteX47" fmla="*/ 371315 w 608697"/>
                <a:gd name="connsiteY47" fmla="*/ 316058 h 384934"/>
                <a:gd name="connsiteX48" fmla="*/ 359082 w 608697"/>
                <a:gd name="connsiteY48" fmla="*/ 328199 h 384934"/>
                <a:gd name="connsiteX49" fmla="*/ 206245 w 608697"/>
                <a:gd name="connsiteY49" fmla="*/ 328199 h 384934"/>
                <a:gd name="connsiteX50" fmla="*/ 194086 w 608697"/>
                <a:gd name="connsiteY50" fmla="*/ 317920 h 384934"/>
                <a:gd name="connsiteX51" fmla="*/ 124791 w 608697"/>
                <a:gd name="connsiteY51" fmla="*/ 258700 h 384934"/>
                <a:gd name="connsiteX52" fmla="*/ 55496 w 608697"/>
                <a:gd name="connsiteY52" fmla="*/ 317920 h 384934"/>
                <a:gd name="connsiteX53" fmla="*/ 43337 w 608697"/>
                <a:gd name="connsiteY53" fmla="*/ 328199 h 384934"/>
                <a:gd name="connsiteX54" fmla="*/ 12158 w 608697"/>
                <a:gd name="connsiteY54" fmla="*/ 328199 h 384934"/>
                <a:gd name="connsiteX55" fmla="*/ 0 w 608697"/>
                <a:gd name="connsiteY55" fmla="*/ 316058 h 384934"/>
                <a:gd name="connsiteX56" fmla="*/ 0 w 608697"/>
                <a:gd name="connsiteY56" fmla="*/ 12141 h 384934"/>
                <a:gd name="connsiteX57" fmla="*/ 12158 w 608697"/>
                <a:gd name="connsiteY57" fmla="*/ 0 h 384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08697" h="384934">
                  <a:moveTo>
                    <a:pt x="502178" y="318048"/>
                  </a:moveTo>
                  <a:cubicBezTo>
                    <a:pt x="493751" y="318048"/>
                    <a:pt x="486964" y="324901"/>
                    <a:pt x="486964" y="333243"/>
                  </a:cubicBezTo>
                  <a:cubicBezTo>
                    <a:pt x="486964" y="341660"/>
                    <a:pt x="493751" y="348438"/>
                    <a:pt x="502178" y="348438"/>
                  </a:cubicBezTo>
                  <a:cubicBezTo>
                    <a:pt x="510606" y="348438"/>
                    <a:pt x="517393" y="341660"/>
                    <a:pt x="517393" y="333243"/>
                  </a:cubicBezTo>
                  <a:cubicBezTo>
                    <a:pt x="517393" y="324901"/>
                    <a:pt x="510606" y="318048"/>
                    <a:pt x="502178" y="318048"/>
                  </a:cubicBezTo>
                  <a:close/>
                  <a:moveTo>
                    <a:pt x="124797" y="318048"/>
                  </a:moveTo>
                  <a:cubicBezTo>
                    <a:pt x="116369" y="318048"/>
                    <a:pt x="109582" y="324901"/>
                    <a:pt x="109582" y="333243"/>
                  </a:cubicBezTo>
                  <a:cubicBezTo>
                    <a:pt x="109582" y="341660"/>
                    <a:pt x="116369" y="348438"/>
                    <a:pt x="124797" y="348438"/>
                  </a:cubicBezTo>
                  <a:cubicBezTo>
                    <a:pt x="133150" y="348438"/>
                    <a:pt x="140012" y="341660"/>
                    <a:pt x="140012" y="333243"/>
                  </a:cubicBezTo>
                  <a:cubicBezTo>
                    <a:pt x="140012" y="324901"/>
                    <a:pt x="133150" y="318048"/>
                    <a:pt x="124797" y="318048"/>
                  </a:cubicBezTo>
                  <a:close/>
                  <a:moveTo>
                    <a:pt x="502178" y="281626"/>
                  </a:moveTo>
                  <a:cubicBezTo>
                    <a:pt x="530669" y="281626"/>
                    <a:pt x="553938" y="304790"/>
                    <a:pt x="553938" y="333243"/>
                  </a:cubicBezTo>
                  <a:cubicBezTo>
                    <a:pt x="553938" y="361770"/>
                    <a:pt x="530669" y="384934"/>
                    <a:pt x="502178" y="384934"/>
                  </a:cubicBezTo>
                  <a:cubicBezTo>
                    <a:pt x="473688" y="384934"/>
                    <a:pt x="450419" y="361770"/>
                    <a:pt x="450419" y="333243"/>
                  </a:cubicBezTo>
                  <a:cubicBezTo>
                    <a:pt x="450419" y="304790"/>
                    <a:pt x="473688" y="281626"/>
                    <a:pt x="502178" y="281626"/>
                  </a:cubicBezTo>
                  <a:close/>
                  <a:moveTo>
                    <a:pt x="124797" y="281626"/>
                  </a:moveTo>
                  <a:cubicBezTo>
                    <a:pt x="153288" y="281626"/>
                    <a:pt x="176484" y="304790"/>
                    <a:pt x="176484" y="333243"/>
                  </a:cubicBezTo>
                  <a:cubicBezTo>
                    <a:pt x="176484" y="361770"/>
                    <a:pt x="153288" y="384934"/>
                    <a:pt x="124797" y="384934"/>
                  </a:cubicBezTo>
                  <a:cubicBezTo>
                    <a:pt x="96231" y="384934"/>
                    <a:pt x="73035" y="361770"/>
                    <a:pt x="73035" y="333243"/>
                  </a:cubicBezTo>
                  <a:cubicBezTo>
                    <a:pt x="73035" y="304790"/>
                    <a:pt x="96231" y="281626"/>
                    <a:pt x="124797" y="281626"/>
                  </a:cubicBezTo>
                  <a:close/>
                  <a:moveTo>
                    <a:pt x="432210" y="91179"/>
                  </a:moveTo>
                  <a:cubicBezTo>
                    <a:pt x="425423" y="91179"/>
                    <a:pt x="419977" y="96616"/>
                    <a:pt x="419977" y="103320"/>
                  </a:cubicBezTo>
                  <a:lnTo>
                    <a:pt x="419977" y="164103"/>
                  </a:lnTo>
                  <a:cubicBezTo>
                    <a:pt x="419977" y="170807"/>
                    <a:pt x="425423" y="176244"/>
                    <a:pt x="432210" y="176244"/>
                  </a:cubicBezTo>
                  <a:lnTo>
                    <a:pt x="536491" y="176244"/>
                  </a:lnTo>
                  <a:cubicBezTo>
                    <a:pt x="546860" y="176244"/>
                    <a:pt x="552454" y="164252"/>
                    <a:pt x="545890" y="156356"/>
                  </a:cubicBezTo>
                  <a:lnTo>
                    <a:pt x="495167" y="95574"/>
                  </a:lnTo>
                  <a:cubicBezTo>
                    <a:pt x="492854" y="92818"/>
                    <a:pt x="489423" y="91179"/>
                    <a:pt x="485768" y="91179"/>
                  </a:cubicBezTo>
                  <a:close/>
                  <a:moveTo>
                    <a:pt x="407819" y="66896"/>
                  </a:moveTo>
                  <a:lnTo>
                    <a:pt x="497255" y="66896"/>
                  </a:lnTo>
                  <a:cubicBezTo>
                    <a:pt x="500836" y="66896"/>
                    <a:pt x="504267" y="68460"/>
                    <a:pt x="506579" y="71216"/>
                  </a:cubicBezTo>
                  <a:lnTo>
                    <a:pt x="605862" y="189727"/>
                  </a:lnTo>
                  <a:cubicBezTo>
                    <a:pt x="607727" y="191961"/>
                    <a:pt x="608697" y="194717"/>
                    <a:pt x="608697" y="197548"/>
                  </a:cubicBezTo>
                  <a:lnTo>
                    <a:pt x="608697" y="316059"/>
                  </a:lnTo>
                  <a:cubicBezTo>
                    <a:pt x="608697" y="322763"/>
                    <a:pt x="603252" y="328200"/>
                    <a:pt x="596538" y="328200"/>
                  </a:cubicBezTo>
                  <a:lnTo>
                    <a:pt x="583634" y="328200"/>
                  </a:lnTo>
                  <a:cubicBezTo>
                    <a:pt x="577592" y="328200"/>
                    <a:pt x="572296" y="323880"/>
                    <a:pt x="571475" y="317921"/>
                  </a:cubicBezTo>
                  <a:cubicBezTo>
                    <a:pt x="566701" y="281347"/>
                    <a:pt x="537535" y="258702"/>
                    <a:pt x="502178" y="258702"/>
                  </a:cubicBezTo>
                  <a:cubicBezTo>
                    <a:pt x="466896" y="258702"/>
                    <a:pt x="437656" y="281347"/>
                    <a:pt x="432882" y="317921"/>
                  </a:cubicBezTo>
                  <a:cubicBezTo>
                    <a:pt x="432136" y="323880"/>
                    <a:pt x="426765" y="328200"/>
                    <a:pt x="420723" y="328200"/>
                  </a:cubicBezTo>
                  <a:lnTo>
                    <a:pt x="407819" y="328200"/>
                  </a:lnTo>
                  <a:cubicBezTo>
                    <a:pt x="401105" y="328200"/>
                    <a:pt x="395660" y="322763"/>
                    <a:pt x="395660" y="316059"/>
                  </a:cubicBezTo>
                  <a:lnTo>
                    <a:pt x="395660" y="79037"/>
                  </a:lnTo>
                  <a:cubicBezTo>
                    <a:pt x="395660" y="72333"/>
                    <a:pt x="401105" y="66896"/>
                    <a:pt x="407819" y="66896"/>
                  </a:cubicBezTo>
                  <a:close/>
                  <a:moveTo>
                    <a:pt x="12158" y="0"/>
                  </a:moveTo>
                  <a:lnTo>
                    <a:pt x="359082" y="0"/>
                  </a:lnTo>
                  <a:cubicBezTo>
                    <a:pt x="365795" y="0"/>
                    <a:pt x="371315" y="5437"/>
                    <a:pt x="371315" y="12141"/>
                  </a:cubicBezTo>
                  <a:lnTo>
                    <a:pt x="371315" y="316058"/>
                  </a:lnTo>
                  <a:cubicBezTo>
                    <a:pt x="371315" y="322762"/>
                    <a:pt x="365795" y="328199"/>
                    <a:pt x="359082" y="328199"/>
                  </a:cubicBezTo>
                  <a:lnTo>
                    <a:pt x="206245" y="328199"/>
                  </a:lnTo>
                  <a:cubicBezTo>
                    <a:pt x="200203" y="328199"/>
                    <a:pt x="194832" y="323879"/>
                    <a:pt x="194086" y="317920"/>
                  </a:cubicBezTo>
                  <a:cubicBezTo>
                    <a:pt x="189312" y="281345"/>
                    <a:pt x="160073" y="258700"/>
                    <a:pt x="124791" y="258700"/>
                  </a:cubicBezTo>
                  <a:cubicBezTo>
                    <a:pt x="89435" y="258700"/>
                    <a:pt x="60270" y="281345"/>
                    <a:pt x="55496" y="317920"/>
                  </a:cubicBezTo>
                  <a:cubicBezTo>
                    <a:pt x="54675" y="323879"/>
                    <a:pt x="49379" y="328199"/>
                    <a:pt x="43337" y="328199"/>
                  </a:cubicBezTo>
                  <a:lnTo>
                    <a:pt x="12158" y="328199"/>
                  </a:lnTo>
                  <a:cubicBezTo>
                    <a:pt x="5445" y="328199"/>
                    <a:pt x="0" y="322762"/>
                    <a:pt x="0" y="316058"/>
                  </a:cubicBezTo>
                  <a:lnTo>
                    <a:pt x="0" y="12141"/>
                  </a:lnTo>
                  <a:cubicBezTo>
                    <a:pt x="0" y="5437"/>
                    <a:pt x="5445" y="0"/>
                    <a:pt x="12158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3765"/>
              <a:endParaRPr/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6BAC2652-93D3-460E-A1C2-A301031A0DD3}"/>
                </a:ext>
              </a:extLst>
            </p:cNvPr>
            <p:cNvSpPr txBox="1"/>
            <p:nvPr/>
          </p:nvSpPr>
          <p:spPr bwMode="auto">
            <a:xfrm>
              <a:off x="5698067" y="2378897"/>
              <a:ext cx="683683" cy="39417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 i="1">
                  <a:solidFill>
                    <a:schemeClr val="bg1"/>
                  </a:solidFill>
                </a:rPr>
                <a:t>T</a:t>
              </a:r>
              <a:r>
                <a:rPr lang="en-US" altLang="zh-CN" sz="100" b="1" i="1">
                  <a:solidFill>
                    <a:schemeClr val="bg1"/>
                  </a:solidFill>
                </a:rPr>
                <a:t> </a:t>
              </a:r>
              <a:r>
                <a:rPr lang="en-US" altLang="zh-CN" sz="1600" b="1" i="1">
                  <a:solidFill>
                    <a:schemeClr val="bg1"/>
                  </a:solidFill>
                </a:rPr>
                <a:t>ext</a:t>
              </a:r>
              <a:endParaRPr lang="en-US" altLang="zh-CN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BAC2652-93D3-460E-A1C2-A301031A0DD3}"/>
                </a:ext>
              </a:extLst>
            </p:cNvPr>
            <p:cNvSpPr txBox="1"/>
            <p:nvPr/>
          </p:nvSpPr>
          <p:spPr bwMode="auto">
            <a:xfrm>
              <a:off x="6294967" y="2852695"/>
              <a:ext cx="683683" cy="39417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i="1"/>
                <a:t>T</a:t>
              </a:r>
              <a:r>
                <a:rPr lang="en-US" altLang="zh-CN" sz="100" b="1" i="1"/>
                <a:t> </a:t>
              </a:r>
              <a:r>
                <a:rPr lang="en-US" altLang="zh-CN" sz="1600" b="1" i="1"/>
                <a:t>ext</a:t>
              </a:r>
              <a:endParaRPr lang="en-US" altLang="zh-CN" sz="1600" b="1" i="1" dirty="0"/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6BAC2652-93D3-460E-A1C2-A301031A0DD3}"/>
                </a:ext>
              </a:extLst>
            </p:cNvPr>
            <p:cNvSpPr txBox="1"/>
            <p:nvPr/>
          </p:nvSpPr>
          <p:spPr bwMode="auto">
            <a:xfrm>
              <a:off x="6896100" y="3313211"/>
              <a:ext cx="683683" cy="39417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600" b="1" i="1"/>
                <a:t>T</a:t>
              </a:r>
              <a:r>
                <a:rPr lang="en-US" altLang="zh-CN" sz="100" b="1" i="1"/>
                <a:t> </a:t>
              </a:r>
              <a:r>
                <a:rPr lang="en-US" altLang="zh-CN" sz="1600" b="1" i="1"/>
                <a:t>ext</a:t>
              </a:r>
              <a:endParaRPr lang="en-US" altLang="zh-CN" sz="1600" b="1" i="1" dirty="0"/>
            </a:p>
          </p:txBody>
        </p:sp>
        <p:sp>
          <p:nvSpPr>
            <p:cNvPr id="14" name="任意多边形: 形状 13"/>
            <p:cNvSpPr/>
            <p:nvPr/>
          </p:nvSpPr>
          <p:spPr bwMode="auto">
            <a:xfrm flipH="1">
              <a:off x="5121090" y="2373743"/>
              <a:ext cx="434102" cy="404480"/>
            </a:xfrm>
            <a:custGeom>
              <a:avLst/>
              <a:gdLst>
                <a:gd name="connsiteX0" fmla="*/ 484855 w 606016"/>
                <a:gd name="connsiteY0" fmla="*/ 473988 h 564664"/>
                <a:gd name="connsiteX1" fmla="*/ 505037 w 606016"/>
                <a:gd name="connsiteY1" fmla="*/ 494170 h 564664"/>
                <a:gd name="connsiteX2" fmla="*/ 484855 w 606016"/>
                <a:gd name="connsiteY2" fmla="*/ 514352 h 564664"/>
                <a:gd name="connsiteX3" fmla="*/ 464673 w 606016"/>
                <a:gd name="connsiteY3" fmla="*/ 494170 h 564664"/>
                <a:gd name="connsiteX4" fmla="*/ 484855 w 606016"/>
                <a:gd name="connsiteY4" fmla="*/ 473988 h 564664"/>
                <a:gd name="connsiteX5" fmla="*/ 121232 w 606016"/>
                <a:gd name="connsiteY5" fmla="*/ 473988 h 564664"/>
                <a:gd name="connsiteX6" fmla="*/ 141414 w 606016"/>
                <a:gd name="connsiteY6" fmla="*/ 494170 h 564664"/>
                <a:gd name="connsiteX7" fmla="*/ 121232 w 606016"/>
                <a:gd name="connsiteY7" fmla="*/ 514352 h 564664"/>
                <a:gd name="connsiteX8" fmla="*/ 101050 w 606016"/>
                <a:gd name="connsiteY8" fmla="*/ 494170 h 564664"/>
                <a:gd name="connsiteX9" fmla="*/ 121232 w 606016"/>
                <a:gd name="connsiteY9" fmla="*/ 473988 h 564664"/>
                <a:gd name="connsiteX10" fmla="*/ 484813 w 606016"/>
                <a:gd name="connsiteY10" fmla="*/ 443658 h 564664"/>
                <a:gd name="connsiteX11" fmla="*/ 434364 w 606016"/>
                <a:gd name="connsiteY11" fmla="*/ 494115 h 564664"/>
                <a:gd name="connsiteX12" fmla="*/ 484813 w 606016"/>
                <a:gd name="connsiteY12" fmla="*/ 544482 h 564664"/>
                <a:gd name="connsiteX13" fmla="*/ 535352 w 606016"/>
                <a:gd name="connsiteY13" fmla="*/ 494115 h 564664"/>
                <a:gd name="connsiteX14" fmla="*/ 484813 w 606016"/>
                <a:gd name="connsiteY14" fmla="*/ 443658 h 564664"/>
                <a:gd name="connsiteX15" fmla="*/ 121293 w 606016"/>
                <a:gd name="connsiteY15" fmla="*/ 443658 h 564664"/>
                <a:gd name="connsiteX16" fmla="*/ 70755 w 606016"/>
                <a:gd name="connsiteY16" fmla="*/ 494115 h 564664"/>
                <a:gd name="connsiteX17" fmla="*/ 121293 w 606016"/>
                <a:gd name="connsiteY17" fmla="*/ 544482 h 564664"/>
                <a:gd name="connsiteX18" fmla="*/ 171742 w 606016"/>
                <a:gd name="connsiteY18" fmla="*/ 494115 h 564664"/>
                <a:gd name="connsiteX19" fmla="*/ 121293 w 606016"/>
                <a:gd name="connsiteY19" fmla="*/ 443658 h 564664"/>
                <a:gd name="connsiteX20" fmla="*/ 303053 w 606016"/>
                <a:gd name="connsiteY20" fmla="*/ 373109 h 564664"/>
                <a:gd name="connsiteX21" fmla="*/ 292945 w 606016"/>
                <a:gd name="connsiteY21" fmla="*/ 383200 h 564664"/>
                <a:gd name="connsiteX22" fmla="*/ 303053 w 606016"/>
                <a:gd name="connsiteY22" fmla="*/ 393292 h 564664"/>
                <a:gd name="connsiteX23" fmla="*/ 343484 w 606016"/>
                <a:gd name="connsiteY23" fmla="*/ 393292 h 564664"/>
                <a:gd name="connsiteX24" fmla="*/ 343484 w 606016"/>
                <a:gd name="connsiteY24" fmla="*/ 403383 h 564664"/>
                <a:gd name="connsiteX25" fmla="*/ 353592 w 606016"/>
                <a:gd name="connsiteY25" fmla="*/ 413474 h 564664"/>
                <a:gd name="connsiteX26" fmla="*/ 363610 w 606016"/>
                <a:gd name="connsiteY26" fmla="*/ 403383 h 564664"/>
                <a:gd name="connsiteX27" fmla="*/ 363610 w 606016"/>
                <a:gd name="connsiteY27" fmla="*/ 383200 h 564664"/>
                <a:gd name="connsiteX28" fmla="*/ 353592 w 606016"/>
                <a:gd name="connsiteY28" fmla="*/ 373109 h 564664"/>
                <a:gd name="connsiteX29" fmla="*/ 313169 w 606016"/>
                <a:gd name="connsiteY29" fmla="*/ 282403 h 564664"/>
                <a:gd name="connsiteX30" fmla="*/ 447018 w 606016"/>
                <a:gd name="connsiteY30" fmla="*/ 282403 h 564664"/>
                <a:gd name="connsiteX31" fmla="*/ 465069 w 606016"/>
                <a:gd name="connsiteY31" fmla="*/ 311699 h 564664"/>
                <a:gd name="connsiteX32" fmla="*/ 473282 w 606016"/>
                <a:gd name="connsiteY32" fmla="*/ 322696 h 564664"/>
                <a:gd name="connsiteX33" fmla="*/ 313169 w 606016"/>
                <a:gd name="connsiteY33" fmla="*/ 322696 h 564664"/>
                <a:gd name="connsiteX34" fmla="*/ 161665 w 606016"/>
                <a:gd name="connsiteY34" fmla="*/ 282403 h 564664"/>
                <a:gd name="connsiteX35" fmla="*/ 292917 w 606016"/>
                <a:gd name="connsiteY35" fmla="*/ 282403 h 564664"/>
                <a:gd name="connsiteX36" fmla="*/ 292917 w 606016"/>
                <a:gd name="connsiteY36" fmla="*/ 322696 h 564664"/>
                <a:gd name="connsiteX37" fmla="*/ 161665 w 606016"/>
                <a:gd name="connsiteY37" fmla="*/ 322696 h 564664"/>
                <a:gd name="connsiteX38" fmla="*/ 191958 w 606016"/>
                <a:gd name="connsiteY38" fmla="*/ 0 h 564664"/>
                <a:gd name="connsiteX39" fmla="*/ 202066 w 606016"/>
                <a:gd name="connsiteY39" fmla="*/ 10092 h 564664"/>
                <a:gd name="connsiteX40" fmla="*/ 202066 w 606016"/>
                <a:gd name="connsiteY40" fmla="*/ 40366 h 564664"/>
                <a:gd name="connsiteX41" fmla="*/ 222281 w 606016"/>
                <a:gd name="connsiteY41" fmla="*/ 40366 h 564664"/>
                <a:gd name="connsiteX42" fmla="*/ 222281 w 606016"/>
                <a:gd name="connsiteY42" fmla="*/ 10092 h 564664"/>
                <a:gd name="connsiteX43" fmla="*/ 232389 w 606016"/>
                <a:gd name="connsiteY43" fmla="*/ 0 h 564664"/>
                <a:gd name="connsiteX44" fmla="*/ 242406 w 606016"/>
                <a:gd name="connsiteY44" fmla="*/ 10092 h 564664"/>
                <a:gd name="connsiteX45" fmla="*/ 242406 w 606016"/>
                <a:gd name="connsiteY45" fmla="*/ 40366 h 564664"/>
                <a:gd name="connsiteX46" fmla="*/ 252514 w 606016"/>
                <a:gd name="connsiteY46" fmla="*/ 50457 h 564664"/>
                <a:gd name="connsiteX47" fmla="*/ 252514 w 606016"/>
                <a:gd name="connsiteY47" fmla="*/ 100823 h 564664"/>
                <a:gd name="connsiteX48" fmla="*/ 242406 w 606016"/>
                <a:gd name="connsiteY48" fmla="*/ 110915 h 564664"/>
                <a:gd name="connsiteX49" fmla="*/ 221379 w 606016"/>
                <a:gd name="connsiteY49" fmla="*/ 110915 h 564664"/>
                <a:gd name="connsiteX50" fmla="*/ 161634 w 606016"/>
                <a:gd name="connsiteY50" fmla="*/ 161371 h 564664"/>
                <a:gd name="connsiteX51" fmla="*/ 101078 w 606016"/>
                <a:gd name="connsiteY51" fmla="*/ 100823 h 564664"/>
                <a:gd name="connsiteX52" fmla="*/ 60647 w 606016"/>
                <a:gd name="connsiteY52" fmla="*/ 60548 h 564664"/>
                <a:gd name="connsiteX53" fmla="*/ 20216 w 606016"/>
                <a:gd name="connsiteY53" fmla="*/ 100823 h 564664"/>
                <a:gd name="connsiteX54" fmla="*/ 20216 w 606016"/>
                <a:gd name="connsiteY54" fmla="*/ 231921 h 564664"/>
                <a:gd name="connsiteX55" fmla="*/ 80862 w 606016"/>
                <a:gd name="connsiteY55" fmla="*/ 292469 h 564664"/>
                <a:gd name="connsiteX56" fmla="*/ 82126 w 606016"/>
                <a:gd name="connsiteY56" fmla="*/ 292649 h 564664"/>
                <a:gd name="connsiteX57" fmla="*/ 105229 w 606016"/>
                <a:gd name="connsiteY57" fmla="*/ 255167 h 564664"/>
                <a:gd name="connsiteX58" fmla="*/ 164883 w 606016"/>
                <a:gd name="connsiteY58" fmla="*/ 221829 h 564664"/>
                <a:gd name="connsiteX59" fmla="*/ 370559 w 606016"/>
                <a:gd name="connsiteY59" fmla="*/ 221829 h 564664"/>
                <a:gd name="connsiteX60" fmla="*/ 430213 w 606016"/>
                <a:gd name="connsiteY60" fmla="*/ 255077 h 564664"/>
                <a:gd name="connsiteX61" fmla="*/ 434545 w 606016"/>
                <a:gd name="connsiteY61" fmla="*/ 262195 h 564664"/>
                <a:gd name="connsiteX62" fmla="*/ 159920 w 606016"/>
                <a:gd name="connsiteY62" fmla="*/ 262195 h 564664"/>
                <a:gd name="connsiteX63" fmla="*/ 141419 w 606016"/>
                <a:gd name="connsiteY63" fmla="*/ 280575 h 564664"/>
                <a:gd name="connsiteX64" fmla="*/ 141419 w 606016"/>
                <a:gd name="connsiteY64" fmla="*/ 324455 h 564664"/>
                <a:gd name="connsiteX65" fmla="*/ 159920 w 606016"/>
                <a:gd name="connsiteY65" fmla="*/ 342835 h 564664"/>
                <a:gd name="connsiteX66" fmla="*/ 498801 w 606016"/>
                <a:gd name="connsiteY66" fmla="*/ 342835 h 564664"/>
                <a:gd name="connsiteX67" fmla="*/ 538962 w 606016"/>
                <a:gd name="connsiteY67" fmla="*/ 352926 h 564664"/>
                <a:gd name="connsiteX68" fmla="*/ 580566 w 606016"/>
                <a:gd name="connsiteY68" fmla="*/ 352926 h 564664"/>
                <a:gd name="connsiteX69" fmla="*/ 606016 w 606016"/>
                <a:gd name="connsiteY69" fmla="*/ 378335 h 564664"/>
                <a:gd name="connsiteX70" fmla="*/ 606016 w 606016"/>
                <a:gd name="connsiteY70" fmla="*/ 403383 h 564664"/>
                <a:gd name="connsiteX71" fmla="*/ 555567 w 606016"/>
                <a:gd name="connsiteY71" fmla="*/ 403383 h 564664"/>
                <a:gd name="connsiteX72" fmla="*/ 545460 w 606016"/>
                <a:gd name="connsiteY72" fmla="*/ 413474 h 564664"/>
                <a:gd name="connsiteX73" fmla="*/ 555567 w 606016"/>
                <a:gd name="connsiteY73" fmla="*/ 423476 h 564664"/>
                <a:gd name="connsiteX74" fmla="*/ 606016 w 606016"/>
                <a:gd name="connsiteY74" fmla="*/ 423476 h 564664"/>
                <a:gd name="connsiteX75" fmla="*/ 606016 w 606016"/>
                <a:gd name="connsiteY75" fmla="*/ 463391 h 564664"/>
                <a:gd name="connsiteX76" fmla="*/ 565224 w 606016"/>
                <a:gd name="connsiteY76" fmla="*/ 504206 h 564664"/>
                <a:gd name="connsiteX77" fmla="*/ 554755 w 606016"/>
                <a:gd name="connsiteY77" fmla="*/ 504206 h 564664"/>
                <a:gd name="connsiteX78" fmla="*/ 484813 w 606016"/>
                <a:gd name="connsiteY78" fmla="*/ 564664 h 564664"/>
                <a:gd name="connsiteX79" fmla="*/ 414961 w 606016"/>
                <a:gd name="connsiteY79" fmla="*/ 504206 h 564664"/>
                <a:gd name="connsiteX80" fmla="*/ 191145 w 606016"/>
                <a:gd name="connsiteY80" fmla="*/ 504206 h 564664"/>
                <a:gd name="connsiteX81" fmla="*/ 121293 w 606016"/>
                <a:gd name="connsiteY81" fmla="*/ 564664 h 564664"/>
                <a:gd name="connsiteX82" fmla="*/ 51351 w 606016"/>
                <a:gd name="connsiteY82" fmla="*/ 504206 h 564664"/>
                <a:gd name="connsiteX83" fmla="*/ 35377 w 606016"/>
                <a:gd name="connsiteY83" fmla="*/ 504206 h 564664"/>
                <a:gd name="connsiteX84" fmla="*/ 90 w 606016"/>
                <a:gd name="connsiteY84" fmla="*/ 468977 h 564664"/>
                <a:gd name="connsiteX85" fmla="*/ 0 w 606016"/>
                <a:gd name="connsiteY85" fmla="*/ 423476 h 564664"/>
                <a:gd name="connsiteX86" fmla="*/ 50539 w 606016"/>
                <a:gd name="connsiteY86" fmla="*/ 423476 h 564664"/>
                <a:gd name="connsiteX87" fmla="*/ 60647 w 606016"/>
                <a:gd name="connsiteY87" fmla="*/ 413474 h 564664"/>
                <a:gd name="connsiteX88" fmla="*/ 50539 w 606016"/>
                <a:gd name="connsiteY88" fmla="*/ 403383 h 564664"/>
                <a:gd name="connsiteX89" fmla="*/ 0 w 606016"/>
                <a:gd name="connsiteY89" fmla="*/ 403383 h 564664"/>
                <a:gd name="connsiteX90" fmla="*/ 0 w 606016"/>
                <a:gd name="connsiteY90" fmla="*/ 378335 h 564664"/>
                <a:gd name="connsiteX91" fmla="*/ 7400 w 606016"/>
                <a:gd name="connsiteY91" fmla="*/ 360405 h 564664"/>
                <a:gd name="connsiteX92" fmla="*/ 25540 w 606016"/>
                <a:gd name="connsiteY92" fmla="*/ 352926 h 564664"/>
                <a:gd name="connsiteX93" fmla="*/ 54961 w 606016"/>
                <a:gd name="connsiteY93" fmla="*/ 336798 h 564664"/>
                <a:gd name="connsiteX94" fmla="*/ 70303 w 606016"/>
                <a:gd name="connsiteY94" fmla="*/ 311840 h 564664"/>
                <a:gd name="connsiteX95" fmla="*/ 90 w 606016"/>
                <a:gd name="connsiteY95" fmla="*/ 231921 h 564664"/>
                <a:gd name="connsiteX96" fmla="*/ 90 w 606016"/>
                <a:gd name="connsiteY96" fmla="*/ 100823 h 564664"/>
                <a:gd name="connsiteX97" fmla="*/ 60647 w 606016"/>
                <a:gd name="connsiteY97" fmla="*/ 40366 h 564664"/>
                <a:gd name="connsiteX98" fmla="*/ 121293 w 606016"/>
                <a:gd name="connsiteY98" fmla="*/ 100823 h 564664"/>
                <a:gd name="connsiteX99" fmla="*/ 161634 w 606016"/>
                <a:gd name="connsiteY99" fmla="*/ 141189 h 564664"/>
                <a:gd name="connsiteX100" fmla="*/ 200622 w 606016"/>
                <a:gd name="connsiteY100" fmla="*/ 110915 h 564664"/>
                <a:gd name="connsiteX101" fmla="*/ 181850 w 606016"/>
                <a:gd name="connsiteY101" fmla="*/ 110915 h 564664"/>
                <a:gd name="connsiteX102" fmla="*/ 171742 w 606016"/>
                <a:gd name="connsiteY102" fmla="*/ 100823 h 564664"/>
                <a:gd name="connsiteX103" fmla="*/ 171742 w 606016"/>
                <a:gd name="connsiteY103" fmla="*/ 50457 h 564664"/>
                <a:gd name="connsiteX104" fmla="*/ 181850 w 606016"/>
                <a:gd name="connsiteY104" fmla="*/ 40366 h 564664"/>
                <a:gd name="connsiteX105" fmla="*/ 181850 w 606016"/>
                <a:gd name="connsiteY105" fmla="*/ 10092 h 564664"/>
                <a:gd name="connsiteX106" fmla="*/ 191958 w 606016"/>
                <a:gd name="connsiteY106" fmla="*/ 0 h 564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6016" h="564664">
                  <a:moveTo>
                    <a:pt x="484855" y="473988"/>
                  </a:moveTo>
                  <a:cubicBezTo>
                    <a:pt x="496001" y="473988"/>
                    <a:pt x="505037" y="483024"/>
                    <a:pt x="505037" y="494170"/>
                  </a:cubicBezTo>
                  <a:cubicBezTo>
                    <a:pt x="505037" y="505316"/>
                    <a:pt x="496001" y="514352"/>
                    <a:pt x="484855" y="514352"/>
                  </a:cubicBezTo>
                  <a:cubicBezTo>
                    <a:pt x="473709" y="514352"/>
                    <a:pt x="464673" y="505316"/>
                    <a:pt x="464673" y="494170"/>
                  </a:cubicBezTo>
                  <a:cubicBezTo>
                    <a:pt x="464673" y="483024"/>
                    <a:pt x="473709" y="473988"/>
                    <a:pt x="484855" y="473988"/>
                  </a:cubicBezTo>
                  <a:close/>
                  <a:moveTo>
                    <a:pt x="121232" y="473988"/>
                  </a:moveTo>
                  <a:cubicBezTo>
                    <a:pt x="132378" y="473988"/>
                    <a:pt x="141414" y="483024"/>
                    <a:pt x="141414" y="494170"/>
                  </a:cubicBezTo>
                  <a:cubicBezTo>
                    <a:pt x="141414" y="505316"/>
                    <a:pt x="132378" y="514352"/>
                    <a:pt x="121232" y="514352"/>
                  </a:cubicBezTo>
                  <a:cubicBezTo>
                    <a:pt x="110086" y="514352"/>
                    <a:pt x="101050" y="505316"/>
                    <a:pt x="101050" y="494170"/>
                  </a:cubicBezTo>
                  <a:cubicBezTo>
                    <a:pt x="101050" y="483024"/>
                    <a:pt x="110086" y="473988"/>
                    <a:pt x="121232" y="473988"/>
                  </a:cubicBezTo>
                  <a:close/>
                  <a:moveTo>
                    <a:pt x="484813" y="443658"/>
                  </a:moveTo>
                  <a:cubicBezTo>
                    <a:pt x="457016" y="443658"/>
                    <a:pt x="434364" y="466274"/>
                    <a:pt x="434364" y="494115"/>
                  </a:cubicBezTo>
                  <a:cubicBezTo>
                    <a:pt x="434364" y="521866"/>
                    <a:pt x="457016" y="544482"/>
                    <a:pt x="484813" y="544482"/>
                  </a:cubicBezTo>
                  <a:cubicBezTo>
                    <a:pt x="512699" y="544482"/>
                    <a:pt x="535352" y="521866"/>
                    <a:pt x="535352" y="494115"/>
                  </a:cubicBezTo>
                  <a:cubicBezTo>
                    <a:pt x="535352" y="466274"/>
                    <a:pt x="512699" y="443658"/>
                    <a:pt x="484813" y="443658"/>
                  </a:cubicBezTo>
                  <a:close/>
                  <a:moveTo>
                    <a:pt x="121293" y="443658"/>
                  </a:moveTo>
                  <a:cubicBezTo>
                    <a:pt x="93407" y="443658"/>
                    <a:pt x="70755" y="466274"/>
                    <a:pt x="70755" y="494115"/>
                  </a:cubicBezTo>
                  <a:cubicBezTo>
                    <a:pt x="70755" y="521866"/>
                    <a:pt x="93407" y="544482"/>
                    <a:pt x="121293" y="544482"/>
                  </a:cubicBezTo>
                  <a:cubicBezTo>
                    <a:pt x="149090" y="544482"/>
                    <a:pt x="171742" y="521866"/>
                    <a:pt x="171742" y="494115"/>
                  </a:cubicBezTo>
                  <a:cubicBezTo>
                    <a:pt x="171742" y="466274"/>
                    <a:pt x="149090" y="443658"/>
                    <a:pt x="121293" y="443658"/>
                  </a:cubicBezTo>
                  <a:close/>
                  <a:moveTo>
                    <a:pt x="303053" y="373109"/>
                  </a:moveTo>
                  <a:cubicBezTo>
                    <a:pt x="297458" y="373109"/>
                    <a:pt x="292945" y="377614"/>
                    <a:pt x="292945" y="383200"/>
                  </a:cubicBezTo>
                  <a:cubicBezTo>
                    <a:pt x="292945" y="388787"/>
                    <a:pt x="297458" y="393292"/>
                    <a:pt x="303053" y="393292"/>
                  </a:cubicBezTo>
                  <a:lnTo>
                    <a:pt x="343484" y="393292"/>
                  </a:lnTo>
                  <a:lnTo>
                    <a:pt x="343484" y="403383"/>
                  </a:lnTo>
                  <a:cubicBezTo>
                    <a:pt x="343484" y="408879"/>
                    <a:pt x="347997" y="413474"/>
                    <a:pt x="353592" y="413474"/>
                  </a:cubicBezTo>
                  <a:cubicBezTo>
                    <a:pt x="359097" y="413474"/>
                    <a:pt x="363610" y="408969"/>
                    <a:pt x="363610" y="403383"/>
                  </a:cubicBezTo>
                  <a:lnTo>
                    <a:pt x="363610" y="383200"/>
                  </a:lnTo>
                  <a:cubicBezTo>
                    <a:pt x="363610" y="377614"/>
                    <a:pt x="359097" y="373109"/>
                    <a:pt x="353592" y="373109"/>
                  </a:cubicBezTo>
                  <a:close/>
                  <a:moveTo>
                    <a:pt x="313169" y="282403"/>
                  </a:moveTo>
                  <a:lnTo>
                    <a:pt x="447018" y="282403"/>
                  </a:lnTo>
                  <a:lnTo>
                    <a:pt x="465069" y="311699"/>
                  </a:lnTo>
                  <a:cubicBezTo>
                    <a:pt x="467506" y="315665"/>
                    <a:pt x="470304" y="319271"/>
                    <a:pt x="473282" y="322696"/>
                  </a:cubicBezTo>
                  <a:lnTo>
                    <a:pt x="313169" y="322696"/>
                  </a:lnTo>
                  <a:close/>
                  <a:moveTo>
                    <a:pt x="161665" y="282403"/>
                  </a:moveTo>
                  <a:lnTo>
                    <a:pt x="292917" y="282403"/>
                  </a:lnTo>
                  <a:lnTo>
                    <a:pt x="292917" y="322696"/>
                  </a:lnTo>
                  <a:lnTo>
                    <a:pt x="161665" y="322696"/>
                  </a:lnTo>
                  <a:close/>
                  <a:moveTo>
                    <a:pt x="191958" y="0"/>
                  </a:moveTo>
                  <a:cubicBezTo>
                    <a:pt x="197553" y="0"/>
                    <a:pt x="202066" y="4505"/>
                    <a:pt x="202066" y="10092"/>
                  </a:cubicBezTo>
                  <a:lnTo>
                    <a:pt x="202066" y="40366"/>
                  </a:lnTo>
                  <a:lnTo>
                    <a:pt x="222281" y="40366"/>
                  </a:lnTo>
                  <a:lnTo>
                    <a:pt x="222281" y="10092"/>
                  </a:lnTo>
                  <a:cubicBezTo>
                    <a:pt x="222281" y="4505"/>
                    <a:pt x="226793" y="0"/>
                    <a:pt x="232389" y="0"/>
                  </a:cubicBezTo>
                  <a:cubicBezTo>
                    <a:pt x="237894" y="0"/>
                    <a:pt x="242406" y="4505"/>
                    <a:pt x="242406" y="10092"/>
                  </a:cubicBezTo>
                  <a:lnTo>
                    <a:pt x="242406" y="40366"/>
                  </a:lnTo>
                  <a:cubicBezTo>
                    <a:pt x="248002" y="40366"/>
                    <a:pt x="252514" y="44871"/>
                    <a:pt x="252514" y="50457"/>
                  </a:cubicBezTo>
                  <a:lnTo>
                    <a:pt x="252514" y="100823"/>
                  </a:lnTo>
                  <a:cubicBezTo>
                    <a:pt x="252514" y="106410"/>
                    <a:pt x="248002" y="110915"/>
                    <a:pt x="242406" y="110915"/>
                  </a:cubicBezTo>
                  <a:lnTo>
                    <a:pt x="221379" y="110915"/>
                  </a:lnTo>
                  <a:cubicBezTo>
                    <a:pt x="216505" y="139477"/>
                    <a:pt x="191597" y="161371"/>
                    <a:pt x="161634" y="161371"/>
                  </a:cubicBezTo>
                  <a:cubicBezTo>
                    <a:pt x="128243" y="161371"/>
                    <a:pt x="101078" y="134251"/>
                    <a:pt x="101078" y="100823"/>
                  </a:cubicBezTo>
                  <a:cubicBezTo>
                    <a:pt x="101078" y="78568"/>
                    <a:pt x="82938" y="60548"/>
                    <a:pt x="60647" y="60548"/>
                  </a:cubicBezTo>
                  <a:cubicBezTo>
                    <a:pt x="38355" y="60548"/>
                    <a:pt x="20216" y="78568"/>
                    <a:pt x="20216" y="100823"/>
                  </a:cubicBezTo>
                  <a:lnTo>
                    <a:pt x="20216" y="231921"/>
                  </a:lnTo>
                  <a:cubicBezTo>
                    <a:pt x="20216" y="265258"/>
                    <a:pt x="47470" y="292469"/>
                    <a:pt x="80862" y="292469"/>
                  </a:cubicBezTo>
                  <a:cubicBezTo>
                    <a:pt x="81314" y="292469"/>
                    <a:pt x="81675" y="292649"/>
                    <a:pt x="82126" y="292649"/>
                  </a:cubicBezTo>
                  <a:lnTo>
                    <a:pt x="105229" y="255167"/>
                  </a:lnTo>
                  <a:cubicBezTo>
                    <a:pt x="117864" y="234624"/>
                    <a:pt x="140697" y="221829"/>
                    <a:pt x="164883" y="221829"/>
                  </a:cubicBezTo>
                  <a:lnTo>
                    <a:pt x="370559" y="221829"/>
                  </a:lnTo>
                  <a:cubicBezTo>
                    <a:pt x="394655" y="221829"/>
                    <a:pt x="417578" y="234624"/>
                    <a:pt x="430213" y="255077"/>
                  </a:cubicBezTo>
                  <a:lnTo>
                    <a:pt x="434545" y="262195"/>
                  </a:lnTo>
                  <a:lnTo>
                    <a:pt x="159920" y="262195"/>
                  </a:lnTo>
                  <a:cubicBezTo>
                    <a:pt x="149722" y="262195"/>
                    <a:pt x="141419" y="270484"/>
                    <a:pt x="141419" y="280575"/>
                  </a:cubicBezTo>
                  <a:lnTo>
                    <a:pt x="141419" y="324455"/>
                  </a:lnTo>
                  <a:cubicBezTo>
                    <a:pt x="141419" y="334546"/>
                    <a:pt x="149722" y="342835"/>
                    <a:pt x="159920" y="342835"/>
                  </a:cubicBezTo>
                  <a:lnTo>
                    <a:pt x="498801" y="342835"/>
                  </a:lnTo>
                  <a:cubicBezTo>
                    <a:pt x="511075" y="349322"/>
                    <a:pt x="524793" y="352926"/>
                    <a:pt x="538962" y="352926"/>
                  </a:cubicBezTo>
                  <a:lnTo>
                    <a:pt x="580566" y="352926"/>
                  </a:lnTo>
                  <a:cubicBezTo>
                    <a:pt x="594645" y="352926"/>
                    <a:pt x="606016" y="364369"/>
                    <a:pt x="606016" y="378335"/>
                  </a:cubicBezTo>
                  <a:lnTo>
                    <a:pt x="606016" y="403383"/>
                  </a:lnTo>
                  <a:lnTo>
                    <a:pt x="555567" y="403383"/>
                  </a:lnTo>
                  <a:cubicBezTo>
                    <a:pt x="549972" y="403383"/>
                    <a:pt x="545460" y="407888"/>
                    <a:pt x="545460" y="413474"/>
                  </a:cubicBezTo>
                  <a:cubicBezTo>
                    <a:pt x="545460" y="418971"/>
                    <a:pt x="549972" y="423476"/>
                    <a:pt x="555567" y="423476"/>
                  </a:cubicBezTo>
                  <a:lnTo>
                    <a:pt x="606016" y="423476"/>
                  </a:lnTo>
                  <a:lnTo>
                    <a:pt x="606016" y="463391"/>
                  </a:lnTo>
                  <a:cubicBezTo>
                    <a:pt x="606016" y="485916"/>
                    <a:pt x="587696" y="504206"/>
                    <a:pt x="565224" y="504206"/>
                  </a:cubicBezTo>
                  <a:lnTo>
                    <a:pt x="554755" y="504206"/>
                  </a:lnTo>
                  <a:cubicBezTo>
                    <a:pt x="549791" y="538355"/>
                    <a:pt x="520371" y="564664"/>
                    <a:pt x="484813" y="564664"/>
                  </a:cubicBezTo>
                  <a:cubicBezTo>
                    <a:pt x="449345" y="564664"/>
                    <a:pt x="419924" y="538355"/>
                    <a:pt x="414961" y="504206"/>
                  </a:cubicBezTo>
                  <a:lnTo>
                    <a:pt x="191145" y="504206"/>
                  </a:lnTo>
                  <a:cubicBezTo>
                    <a:pt x="186182" y="538355"/>
                    <a:pt x="156761" y="564664"/>
                    <a:pt x="121293" y="564664"/>
                  </a:cubicBezTo>
                  <a:cubicBezTo>
                    <a:pt x="85736" y="564664"/>
                    <a:pt x="56315" y="538355"/>
                    <a:pt x="51351" y="504206"/>
                  </a:cubicBezTo>
                  <a:lnTo>
                    <a:pt x="35377" y="504206"/>
                  </a:lnTo>
                  <a:cubicBezTo>
                    <a:pt x="15884" y="504206"/>
                    <a:pt x="90" y="488349"/>
                    <a:pt x="90" y="468977"/>
                  </a:cubicBezTo>
                  <a:lnTo>
                    <a:pt x="0" y="423476"/>
                  </a:lnTo>
                  <a:lnTo>
                    <a:pt x="50539" y="423476"/>
                  </a:lnTo>
                  <a:cubicBezTo>
                    <a:pt x="56134" y="423476"/>
                    <a:pt x="60647" y="418971"/>
                    <a:pt x="60647" y="413474"/>
                  </a:cubicBezTo>
                  <a:cubicBezTo>
                    <a:pt x="60647" y="407888"/>
                    <a:pt x="56134" y="403383"/>
                    <a:pt x="50539" y="403383"/>
                  </a:cubicBezTo>
                  <a:lnTo>
                    <a:pt x="0" y="403383"/>
                  </a:lnTo>
                  <a:lnTo>
                    <a:pt x="0" y="378335"/>
                  </a:lnTo>
                  <a:cubicBezTo>
                    <a:pt x="0" y="371577"/>
                    <a:pt x="2617" y="365180"/>
                    <a:pt x="7400" y="360405"/>
                  </a:cubicBezTo>
                  <a:cubicBezTo>
                    <a:pt x="12274" y="355630"/>
                    <a:pt x="18681" y="352926"/>
                    <a:pt x="25540" y="352926"/>
                  </a:cubicBezTo>
                  <a:cubicBezTo>
                    <a:pt x="37814" y="352926"/>
                    <a:pt x="48824" y="346710"/>
                    <a:pt x="54961" y="336798"/>
                  </a:cubicBezTo>
                  <a:lnTo>
                    <a:pt x="70303" y="311840"/>
                  </a:lnTo>
                  <a:cubicBezTo>
                    <a:pt x="30775" y="306614"/>
                    <a:pt x="90" y="272827"/>
                    <a:pt x="90" y="231921"/>
                  </a:cubicBezTo>
                  <a:lnTo>
                    <a:pt x="90" y="100823"/>
                  </a:lnTo>
                  <a:cubicBezTo>
                    <a:pt x="90" y="67486"/>
                    <a:pt x="27255" y="40366"/>
                    <a:pt x="60647" y="40366"/>
                  </a:cubicBezTo>
                  <a:cubicBezTo>
                    <a:pt x="94039" y="40366"/>
                    <a:pt x="121293" y="67486"/>
                    <a:pt x="121293" y="100823"/>
                  </a:cubicBezTo>
                  <a:cubicBezTo>
                    <a:pt x="121293" y="123078"/>
                    <a:pt x="139343" y="141189"/>
                    <a:pt x="161634" y="141189"/>
                  </a:cubicBezTo>
                  <a:cubicBezTo>
                    <a:pt x="180406" y="141189"/>
                    <a:pt x="196109" y="128304"/>
                    <a:pt x="200622" y="110915"/>
                  </a:cubicBezTo>
                  <a:lnTo>
                    <a:pt x="181850" y="110915"/>
                  </a:lnTo>
                  <a:cubicBezTo>
                    <a:pt x="176255" y="110915"/>
                    <a:pt x="171742" y="106410"/>
                    <a:pt x="171742" y="100823"/>
                  </a:cubicBezTo>
                  <a:lnTo>
                    <a:pt x="171742" y="50457"/>
                  </a:lnTo>
                  <a:cubicBezTo>
                    <a:pt x="171742" y="44871"/>
                    <a:pt x="176255" y="40366"/>
                    <a:pt x="181850" y="40366"/>
                  </a:cubicBezTo>
                  <a:lnTo>
                    <a:pt x="181850" y="10092"/>
                  </a:lnTo>
                  <a:cubicBezTo>
                    <a:pt x="181850" y="4505"/>
                    <a:pt x="186362" y="0"/>
                    <a:pt x="19195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3765"/>
              <a:endParaRPr dirty="0"/>
            </a:p>
          </p:txBody>
        </p:sp>
        <p:grpSp>
          <p:nvGrpSpPr>
            <p:cNvPr id="15" name="组合 14"/>
            <p:cNvGrpSpPr/>
            <p:nvPr/>
          </p:nvGrpSpPr>
          <p:grpSpPr>
            <a:xfrm>
              <a:off x="673100" y="2044227"/>
              <a:ext cx="3933640" cy="1202309"/>
              <a:chOff x="673100" y="2505075"/>
              <a:chExt cx="3933640" cy="1202309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2970156"/>
                <a:ext cx="3933640" cy="7372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200" dirty="0"/>
                  <a:t>Copy </a:t>
                </a:r>
                <a:r>
                  <a:rPr lang="en-US" altLang="zh-CN" sz="1200"/>
                  <a:t>paste font</a:t>
                </a:r>
                <a:r>
                  <a:rPr lang="en-US" altLang="zh-CN" sz="100"/>
                  <a:t> </a:t>
                </a:r>
                <a:r>
                  <a:rPr lang="en-US" altLang="zh-CN" sz="1200"/>
                  <a:t>s</a:t>
                </a:r>
                <a:r>
                  <a:rPr lang="en-US" altLang="zh-CN" sz="1200" dirty="0"/>
                  <a:t>. Choose the only option to retain text……</a:t>
                </a: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2505075"/>
                <a:ext cx="3933640" cy="4650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方法</a:t>
                </a:r>
                <a:endParaRPr lang="en-US" altLang="zh-CN" b="1" dirty="0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673100" y="3447306"/>
              <a:ext cx="3933640" cy="1202309"/>
              <a:chOff x="673100" y="2505075"/>
              <a:chExt cx="3933640" cy="1202309"/>
            </a:xfrm>
          </p:grpSpPr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2970156"/>
                <a:ext cx="3933640" cy="7372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200" dirty="0"/>
                  <a:t>Copy </a:t>
                </a:r>
                <a:r>
                  <a:rPr lang="en-US" altLang="zh-CN" sz="1200"/>
                  <a:t>paste font</a:t>
                </a:r>
                <a:r>
                  <a:rPr lang="en-US" altLang="zh-CN" sz="100"/>
                  <a:t> </a:t>
                </a:r>
                <a:r>
                  <a:rPr lang="en-US" altLang="zh-CN" sz="1200"/>
                  <a:t>s</a:t>
                </a:r>
                <a:r>
                  <a:rPr lang="en-US" altLang="zh-CN" sz="1200" dirty="0"/>
                  <a:t>. Choose the only option to retain text……</a:t>
                </a: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2505075"/>
                <a:ext cx="3933640" cy="4650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方法</a:t>
                </a:r>
                <a:endParaRPr lang="en-US" altLang="zh-CN" b="1" dirty="0"/>
              </a:p>
            </p:txBody>
          </p:sp>
        </p:grpSp>
        <p:grpSp>
          <p:nvGrpSpPr>
            <p:cNvPr id="17" name="组合 16"/>
            <p:cNvGrpSpPr/>
            <p:nvPr/>
          </p:nvGrpSpPr>
          <p:grpSpPr>
            <a:xfrm>
              <a:off x="673100" y="4850384"/>
              <a:ext cx="3933640" cy="1202309"/>
              <a:chOff x="673100" y="2505075"/>
              <a:chExt cx="3933640" cy="1202309"/>
            </a:xfrm>
          </p:grpSpPr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E632F477-E3A9-47DC-9B17-2FF72B06E79D}"/>
                  </a:ext>
                </a:extLst>
              </p:cNvPr>
              <p:cNvSpPr/>
              <p:nvPr/>
            </p:nvSpPr>
            <p:spPr bwMode="auto">
              <a:xfrm>
                <a:off x="673100" y="2970156"/>
                <a:ext cx="3933640" cy="7372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en-US" altLang="zh-CN" sz="1200" dirty="0"/>
                  <a:t>Copy </a:t>
                </a:r>
                <a:r>
                  <a:rPr lang="en-US" altLang="zh-CN" sz="1200"/>
                  <a:t>paste font</a:t>
                </a:r>
                <a:r>
                  <a:rPr lang="en-US" altLang="zh-CN" sz="100"/>
                  <a:t> </a:t>
                </a:r>
                <a:r>
                  <a:rPr lang="en-US" altLang="zh-CN" sz="1200"/>
                  <a:t>s</a:t>
                </a:r>
                <a:r>
                  <a:rPr lang="en-US" altLang="zh-CN" sz="1200" dirty="0"/>
                  <a:t>. Choose the only option to retain text……</a:t>
                </a: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6BAC2652-93D3-460E-A1C2-A301031A0DD3}"/>
                  </a:ext>
                </a:extLst>
              </p:cNvPr>
              <p:cNvSpPr txBox="1"/>
              <p:nvPr/>
            </p:nvSpPr>
            <p:spPr bwMode="auto">
              <a:xfrm>
                <a:off x="673100" y="2505075"/>
                <a:ext cx="3933640" cy="46508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方法</a:t>
                </a:r>
                <a:endParaRPr lang="en-US" altLang="zh-CN" b="1" dirty="0"/>
              </a:p>
            </p:txBody>
          </p:sp>
        </p:grpSp>
        <p:cxnSp>
          <p:nvCxnSpPr>
            <p:cNvPr id="18" name="直接连接符 17"/>
            <p:cNvCxnSpPr/>
            <p:nvPr/>
          </p:nvCxnSpPr>
          <p:spPr>
            <a:xfrm>
              <a:off x="669925" y="3346921"/>
              <a:ext cx="35877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/>
          </p:nvCxnSpPr>
          <p:spPr>
            <a:xfrm>
              <a:off x="669925" y="4750000"/>
              <a:ext cx="35877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37230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研究过程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305" y="1265887"/>
            <a:ext cx="10858595" cy="4776428"/>
            <a:chOff x="660305" y="1265887"/>
            <a:chExt cx="10858595" cy="4776428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91CDAF31-3C03-4200-9FA1-B98A4312D7C6}"/>
                </a:ext>
              </a:extLst>
            </p:cNvPr>
            <p:cNvCxnSpPr>
              <a:cxnSpLocks/>
            </p:cNvCxnSpPr>
            <p:nvPr/>
          </p:nvCxnSpPr>
          <p:spPr>
            <a:xfrm>
              <a:off x="660400" y="3660930"/>
              <a:ext cx="21875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3DF4B21C-CD0F-4B17-AB3E-7D701D482221}"/>
                </a:ext>
              </a:extLst>
            </p:cNvPr>
            <p:cNvGrpSpPr/>
            <p:nvPr/>
          </p:nvGrpSpPr>
          <p:grpSpPr>
            <a:xfrm flipH="1" flipV="1">
              <a:off x="3122984" y="3347944"/>
              <a:ext cx="5938731" cy="2598919"/>
              <a:chOff x="3498856" y="1131557"/>
              <a:chExt cx="4113138" cy="1800000"/>
            </a:xfrm>
            <a:solidFill>
              <a:schemeClr val="bg1">
                <a:lumMod val="95000"/>
              </a:schemeClr>
            </a:solidFill>
            <a:effectLst/>
          </p:grpSpPr>
          <p:grpSp>
            <p:nvGrpSpPr>
              <p:cNvPr id="40" name="组合 39">
                <a:extLst>
                  <a:ext uri="{FF2B5EF4-FFF2-40B4-BE49-F238E27FC236}">
                    <a16:creationId xmlns:a16="http://schemas.microsoft.com/office/drawing/2014/main" id="{7227460F-A003-4426-8FAA-372FA5BB2A6F}"/>
                  </a:ext>
                </a:extLst>
              </p:cNvPr>
              <p:cNvGrpSpPr/>
              <p:nvPr/>
            </p:nvGrpSpPr>
            <p:grpSpPr>
              <a:xfrm>
                <a:off x="3498856" y="1131557"/>
                <a:ext cx="2266795" cy="1800000"/>
                <a:chOff x="3498857" y="1131557"/>
                <a:chExt cx="2266795" cy="1800000"/>
              </a:xfrm>
              <a:grpFill/>
            </p:grpSpPr>
            <p:sp>
              <p:nvSpPr>
                <p:cNvPr id="45" name="矩形 44">
                  <a:extLst>
                    <a:ext uri="{FF2B5EF4-FFF2-40B4-BE49-F238E27FC236}">
                      <a16:creationId xmlns:a16="http://schemas.microsoft.com/office/drawing/2014/main" id="{E8F7137C-FD32-412D-8EB8-4C76322BD0FE}"/>
                    </a:ext>
                  </a:extLst>
                </p:cNvPr>
                <p:cNvSpPr/>
                <p:nvPr/>
              </p:nvSpPr>
              <p:spPr>
                <a:xfrm rot="19431508">
                  <a:off x="3498857" y="2030724"/>
                  <a:ext cx="2266795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6" name="矩形 45">
                  <a:extLst>
                    <a:ext uri="{FF2B5EF4-FFF2-40B4-BE49-F238E27FC236}">
                      <a16:creationId xmlns:a16="http://schemas.microsoft.com/office/drawing/2014/main" id="{CE9F4CC7-6995-4EEA-B7A5-E95538E941ED}"/>
                    </a:ext>
                  </a:extLst>
                </p:cNvPr>
                <p:cNvSpPr/>
                <p:nvPr/>
              </p:nvSpPr>
              <p:spPr>
                <a:xfrm rot="18568246">
                  <a:off x="4129985" y="2022925"/>
                  <a:ext cx="1800000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7" name="矩形 46">
                  <a:extLst>
                    <a:ext uri="{FF2B5EF4-FFF2-40B4-BE49-F238E27FC236}">
                      <a16:creationId xmlns:a16="http://schemas.microsoft.com/office/drawing/2014/main" id="{15391ADB-F35D-4E31-B223-A9790933678E}"/>
                    </a:ext>
                  </a:extLst>
                </p:cNvPr>
                <p:cNvSpPr/>
                <p:nvPr/>
              </p:nvSpPr>
              <p:spPr>
                <a:xfrm rot="17140938">
                  <a:off x="4668885" y="1989663"/>
                  <a:ext cx="1440000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41" name="组合 40">
                <a:extLst>
                  <a:ext uri="{FF2B5EF4-FFF2-40B4-BE49-F238E27FC236}">
                    <a16:creationId xmlns:a16="http://schemas.microsoft.com/office/drawing/2014/main" id="{A4F1291B-AD91-414C-98E9-3CE32B7A862F}"/>
                  </a:ext>
                </a:extLst>
              </p:cNvPr>
              <p:cNvGrpSpPr/>
              <p:nvPr/>
            </p:nvGrpSpPr>
            <p:grpSpPr>
              <a:xfrm>
                <a:off x="5345199" y="1131557"/>
                <a:ext cx="2266795" cy="1800000"/>
                <a:chOff x="5345199" y="1131557"/>
                <a:chExt cx="2266795" cy="1800000"/>
              </a:xfrm>
              <a:grpFill/>
            </p:grpSpPr>
            <p:sp>
              <p:nvSpPr>
                <p:cNvPr id="42" name="矩形 41">
                  <a:extLst>
                    <a:ext uri="{FF2B5EF4-FFF2-40B4-BE49-F238E27FC236}">
                      <a16:creationId xmlns:a16="http://schemas.microsoft.com/office/drawing/2014/main" id="{25120CD2-2A54-4F54-BA60-0E8017B49733}"/>
                    </a:ext>
                  </a:extLst>
                </p:cNvPr>
                <p:cNvSpPr/>
                <p:nvPr/>
              </p:nvSpPr>
              <p:spPr>
                <a:xfrm rot="2168492" flipH="1">
                  <a:off x="5345199" y="2030724"/>
                  <a:ext cx="2266795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3" name="矩形 42">
                  <a:extLst>
                    <a:ext uri="{FF2B5EF4-FFF2-40B4-BE49-F238E27FC236}">
                      <a16:creationId xmlns:a16="http://schemas.microsoft.com/office/drawing/2014/main" id="{AAD9C6C6-59B4-49EB-8DA2-700DF8B58DB2}"/>
                    </a:ext>
                  </a:extLst>
                </p:cNvPr>
                <p:cNvSpPr/>
                <p:nvPr/>
              </p:nvSpPr>
              <p:spPr>
                <a:xfrm rot="3031754" flipH="1">
                  <a:off x="5180867" y="2022925"/>
                  <a:ext cx="1800000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  <p:sp>
              <p:nvSpPr>
                <p:cNvPr id="44" name="矩形 43">
                  <a:extLst>
                    <a:ext uri="{FF2B5EF4-FFF2-40B4-BE49-F238E27FC236}">
                      <a16:creationId xmlns:a16="http://schemas.microsoft.com/office/drawing/2014/main" id="{2E6A7461-65AD-4CCE-97F8-67560D48CEA8}"/>
                    </a:ext>
                  </a:extLst>
                </p:cNvPr>
                <p:cNvSpPr/>
                <p:nvPr/>
              </p:nvSpPr>
              <p:spPr>
                <a:xfrm rot="4459062" flipH="1">
                  <a:off x="5001964" y="1989663"/>
                  <a:ext cx="1440000" cy="17263"/>
                </a:xfrm>
                <a:prstGeom prst="rect">
                  <a:avLst/>
                </a:prstGeom>
                <a:grpFill/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/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10B4CED8-1407-4D80-87ED-630C74F7BC22}"/>
                </a:ext>
              </a:extLst>
            </p:cNvPr>
            <p:cNvGrpSpPr/>
            <p:nvPr/>
          </p:nvGrpSpPr>
          <p:grpSpPr>
            <a:xfrm>
              <a:off x="3107172" y="1419013"/>
              <a:ext cx="5970354" cy="2574040"/>
              <a:chOff x="3364959" y="995073"/>
              <a:chExt cx="4380632" cy="1906907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47E0DA1F-84DC-4401-B3A2-037CA0590F80}"/>
                  </a:ext>
                </a:extLst>
              </p:cNvPr>
              <p:cNvSpPr/>
              <p:nvPr/>
            </p:nvSpPr>
            <p:spPr>
              <a:xfrm rot="19431508">
                <a:off x="3364959" y="1944278"/>
                <a:ext cx="2401427" cy="18465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矩形 34">
                <a:extLst>
                  <a:ext uri="{FF2B5EF4-FFF2-40B4-BE49-F238E27FC236}">
                    <a16:creationId xmlns:a16="http://schemas.microsoft.com/office/drawing/2014/main" id="{2DEE9E1D-197D-4A1F-AFB2-231E3E02A59F}"/>
                  </a:ext>
                </a:extLst>
              </p:cNvPr>
              <p:cNvSpPr/>
              <p:nvPr/>
            </p:nvSpPr>
            <p:spPr>
              <a:xfrm rot="18568246">
                <a:off x="4029856" y="1939383"/>
                <a:ext cx="1906907" cy="18288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矩形 35">
                <a:extLst>
                  <a:ext uri="{FF2B5EF4-FFF2-40B4-BE49-F238E27FC236}">
                    <a16:creationId xmlns:a16="http://schemas.microsoft.com/office/drawing/2014/main" id="{7B1CEE2D-C4BD-4A80-A23A-C11E2DB6BC66}"/>
                  </a:ext>
                </a:extLst>
              </p:cNvPr>
              <p:cNvSpPr/>
              <p:nvPr/>
            </p:nvSpPr>
            <p:spPr>
              <a:xfrm rot="17140938">
                <a:off x="4596971" y="1911435"/>
                <a:ext cx="1525526" cy="18288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矩形 36">
                <a:extLst>
                  <a:ext uri="{FF2B5EF4-FFF2-40B4-BE49-F238E27FC236}">
                    <a16:creationId xmlns:a16="http://schemas.microsoft.com/office/drawing/2014/main" id="{8FF4875B-F809-4F4D-93F4-A0038695672F}"/>
                  </a:ext>
                </a:extLst>
              </p:cNvPr>
              <p:cNvSpPr/>
              <p:nvPr/>
            </p:nvSpPr>
            <p:spPr>
              <a:xfrm rot="2168492" flipH="1">
                <a:off x="5344164" y="1944277"/>
                <a:ext cx="2401427" cy="18465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BB178AC6-11D6-4869-9B51-B6F4ED3AEAF7}"/>
                  </a:ext>
                </a:extLst>
              </p:cNvPr>
              <p:cNvSpPr/>
              <p:nvPr/>
            </p:nvSpPr>
            <p:spPr>
              <a:xfrm rot="3031754" flipH="1">
                <a:off x="5173797" y="1939383"/>
                <a:ext cx="1906907" cy="18288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F99BCA49-4096-4266-B448-26D11DF88148}"/>
                  </a:ext>
                </a:extLst>
              </p:cNvPr>
              <p:cNvSpPr/>
              <p:nvPr/>
            </p:nvSpPr>
            <p:spPr>
              <a:xfrm rot="4459062" flipH="1">
                <a:off x="4988053" y="1911435"/>
                <a:ext cx="1525526" cy="18288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170EFE15-49A8-41E4-89E2-F321E2D284E7}"/>
                </a:ext>
              </a:extLst>
            </p:cNvPr>
            <p:cNvSpPr/>
            <p:nvPr/>
          </p:nvSpPr>
          <p:spPr>
            <a:xfrm>
              <a:off x="2991395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en-US" altLang="zh-CN" sz="1200" b="1">
                  <a:solidFill>
                    <a:schemeClr val="bg1"/>
                  </a:solidFill>
                </a:rPr>
                <a:t>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200" b="1">
                  <a:solidFill>
                    <a:schemeClr val="bg1"/>
                  </a:solidFill>
                </a:rPr>
                <a:t>ext</a:t>
              </a:r>
              <a:endParaRPr lang="zh-CN" alt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5BA633CF-B9F7-4508-961E-C42511394BFB}"/>
                </a:ext>
              </a:extLst>
            </p:cNvPr>
            <p:cNvSpPr/>
            <p:nvPr/>
          </p:nvSpPr>
          <p:spPr>
            <a:xfrm>
              <a:off x="4061190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en-US" altLang="zh-CN" sz="1200" b="1">
                  <a:solidFill>
                    <a:schemeClr val="bg1"/>
                  </a:solidFill>
                </a:rPr>
                <a:t>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200" b="1">
                  <a:solidFill>
                    <a:schemeClr val="bg1"/>
                  </a:solidFill>
                </a:rPr>
                <a:t>ext</a:t>
              </a:r>
              <a:endParaRPr lang="zh-CN" alt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CB4F4FE9-F1FA-4963-8398-28A5F80761B9}"/>
                </a:ext>
              </a:extLst>
            </p:cNvPr>
            <p:cNvSpPr/>
            <p:nvPr/>
          </p:nvSpPr>
          <p:spPr>
            <a:xfrm>
              <a:off x="5130986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en-US" altLang="zh-CN" sz="1200" b="1">
                  <a:solidFill>
                    <a:schemeClr val="bg1"/>
                  </a:solidFill>
                </a:rPr>
                <a:t>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200" b="1">
                  <a:solidFill>
                    <a:schemeClr val="bg1"/>
                  </a:solidFill>
                </a:rPr>
                <a:t>ext</a:t>
              </a:r>
              <a:endParaRPr lang="zh-CN" alt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9D85FB9B-F93E-4E1E-A7AB-CDFE88D9FD90}"/>
                </a:ext>
              </a:extLst>
            </p:cNvPr>
            <p:cNvSpPr/>
            <p:nvPr/>
          </p:nvSpPr>
          <p:spPr>
            <a:xfrm>
              <a:off x="6200779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en-US" altLang="zh-CN" sz="1200" b="1">
                  <a:solidFill>
                    <a:schemeClr val="bg1"/>
                  </a:solidFill>
                </a:rPr>
                <a:t>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200" b="1">
                  <a:solidFill>
                    <a:schemeClr val="bg1"/>
                  </a:solidFill>
                </a:rPr>
                <a:t>ext</a:t>
              </a:r>
              <a:endParaRPr lang="zh-CN" alt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A9F27660-75D1-478A-8EEC-A238EBC98A75}"/>
                </a:ext>
              </a:extLst>
            </p:cNvPr>
            <p:cNvSpPr/>
            <p:nvPr/>
          </p:nvSpPr>
          <p:spPr>
            <a:xfrm>
              <a:off x="7270574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en-US" altLang="zh-CN" sz="1200" b="1">
                  <a:solidFill>
                    <a:schemeClr val="bg1"/>
                  </a:solidFill>
                </a:rPr>
                <a:t>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200" b="1">
                  <a:solidFill>
                    <a:schemeClr val="bg1"/>
                  </a:solidFill>
                </a:rPr>
                <a:t>ext</a:t>
              </a:r>
              <a:endParaRPr lang="zh-CN" alt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342CA7F1-AAC1-46BF-A4F4-F886D700992E}"/>
                </a:ext>
              </a:extLst>
            </p:cNvPr>
            <p:cNvSpPr/>
            <p:nvPr/>
          </p:nvSpPr>
          <p:spPr>
            <a:xfrm>
              <a:off x="8340369" y="3223987"/>
              <a:ext cx="860239" cy="86023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="horz" wrap="square" lIns="0" tIns="0" rIns="0" bIns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lvl="0" algn="ctr"/>
              <a:r>
                <a:rPr lang="en-US" altLang="zh-CN" sz="1200" b="1">
                  <a:solidFill>
                    <a:schemeClr val="bg1"/>
                  </a:solidFill>
                </a:rPr>
                <a:t>T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sz="1200" b="1">
                  <a:solidFill>
                    <a:schemeClr val="bg1"/>
                  </a:solidFill>
                </a:rPr>
                <a:t>ext</a:t>
              </a:r>
              <a:endParaRPr lang="zh-CN" altLang="en-US" sz="1200" b="1">
                <a:solidFill>
                  <a:schemeClr val="bg1"/>
                </a:solidFill>
              </a:endParaRPr>
            </a:p>
          </p:txBody>
        </p: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A9959E64-9109-4F96-8D13-3D1F11751437}"/>
                </a:ext>
              </a:extLst>
            </p:cNvPr>
            <p:cNvGrpSpPr/>
            <p:nvPr/>
          </p:nvGrpSpPr>
          <p:grpSpPr>
            <a:xfrm>
              <a:off x="5544024" y="4938360"/>
              <a:ext cx="1103958" cy="1103955"/>
              <a:chOff x="5152952" y="3577406"/>
              <a:chExt cx="810007" cy="810006"/>
            </a:xfrm>
            <a:effectLst/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543AEA26-0A23-487C-82F5-82916A42B358}"/>
                  </a:ext>
                </a:extLst>
              </p:cNvPr>
              <p:cNvSpPr/>
              <p:nvPr/>
            </p:nvSpPr>
            <p:spPr>
              <a:xfrm>
                <a:off x="5152952" y="3577406"/>
                <a:ext cx="810007" cy="810006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5A1CF5B0-BDDD-4667-B87C-F1AA2F7CF6B3}"/>
                  </a:ext>
                </a:extLst>
              </p:cNvPr>
              <p:cNvSpPr/>
              <p:nvPr/>
            </p:nvSpPr>
            <p:spPr bwMode="auto">
              <a:xfrm>
                <a:off x="5405170" y="3814276"/>
                <a:ext cx="305568" cy="305568"/>
              </a:xfrm>
              <a:custGeom>
                <a:avLst/>
                <a:gdLst/>
                <a:ahLst/>
                <a:cxnLst>
                  <a:cxn ang="0">
                    <a:pos x="175" y="56"/>
                  </a:cxn>
                  <a:cxn ang="0">
                    <a:pos x="96" y="3"/>
                  </a:cxn>
                  <a:cxn ang="0">
                    <a:pos x="83" y="3"/>
                  </a:cxn>
                  <a:cxn ang="0">
                    <a:pos x="5" y="56"/>
                  </a:cxn>
                  <a:cxn ang="0">
                    <a:pos x="0" y="66"/>
                  </a:cxn>
                  <a:cxn ang="0">
                    <a:pos x="0" y="167"/>
                  </a:cxn>
                  <a:cxn ang="0">
                    <a:pos x="11" y="179"/>
                  </a:cxn>
                  <a:cxn ang="0">
                    <a:pos x="168" y="179"/>
                  </a:cxn>
                  <a:cxn ang="0">
                    <a:pos x="180" y="167"/>
                  </a:cxn>
                  <a:cxn ang="0">
                    <a:pos x="180" y="66"/>
                  </a:cxn>
                  <a:cxn ang="0">
                    <a:pos x="175" y="56"/>
                  </a:cxn>
                  <a:cxn ang="0">
                    <a:pos x="168" y="82"/>
                  </a:cxn>
                  <a:cxn ang="0">
                    <a:pos x="90" y="135"/>
                  </a:cxn>
                  <a:cxn ang="0">
                    <a:pos x="11" y="82"/>
                  </a:cxn>
                  <a:cxn ang="0">
                    <a:pos x="11" y="71"/>
                  </a:cxn>
                  <a:cxn ang="0">
                    <a:pos x="17" y="65"/>
                  </a:cxn>
                  <a:cxn ang="0">
                    <a:pos x="162" y="65"/>
                  </a:cxn>
                  <a:cxn ang="0">
                    <a:pos x="168" y="71"/>
                  </a:cxn>
                  <a:cxn ang="0">
                    <a:pos x="168" y="82"/>
                  </a:cxn>
                  <a:cxn ang="0">
                    <a:pos x="97" y="84"/>
                  </a:cxn>
                  <a:cxn ang="0">
                    <a:pos x="90" y="77"/>
                  </a:cxn>
                  <a:cxn ang="0">
                    <a:pos x="82" y="84"/>
                  </a:cxn>
                  <a:cxn ang="0">
                    <a:pos x="82" y="109"/>
                  </a:cxn>
                  <a:cxn ang="0">
                    <a:pos x="66" y="109"/>
                  </a:cxn>
                  <a:cxn ang="0">
                    <a:pos x="90" y="125"/>
                  </a:cxn>
                  <a:cxn ang="0">
                    <a:pos x="113" y="109"/>
                  </a:cxn>
                  <a:cxn ang="0">
                    <a:pos x="97" y="109"/>
                  </a:cxn>
                  <a:cxn ang="0">
                    <a:pos x="97" y="84"/>
                  </a:cxn>
                </a:cxnLst>
                <a:rect l="0" t="0" r="r" b="b"/>
                <a:pathLst>
                  <a:path w="180" h="179">
                    <a:moveTo>
                      <a:pt x="175" y="56"/>
                    </a:moveTo>
                    <a:cubicBezTo>
                      <a:pt x="96" y="3"/>
                      <a:pt x="96" y="3"/>
                      <a:pt x="96" y="3"/>
                    </a:cubicBezTo>
                    <a:cubicBezTo>
                      <a:pt x="92" y="0"/>
                      <a:pt x="87" y="0"/>
                      <a:pt x="83" y="3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2" y="58"/>
                      <a:pt x="0" y="62"/>
                      <a:pt x="0" y="66"/>
                    </a:cubicBezTo>
                    <a:cubicBezTo>
                      <a:pt x="0" y="167"/>
                      <a:pt x="0" y="167"/>
                      <a:pt x="0" y="167"/>
                    </a:cubicBezTo>
                    <a:cubicBezTo>
                      <a:pt x="0" y="174"/>
                      <a:pt x="5" y="179"/>
                      <a:pt x="11" y="179"/>
                    </a:cubicBezTo>
                    <a:cubicBezTo>
                      <a:pt x="168" y="179"/>
                      <a:pt x="168" y="179"/>
                      <a:pt x="168" y="179"/>
                    </a:cubicBezTo>
                    <a:cubicBezTo>
                      <a:pt x="175" y="179"/>
                      <a:pt x="180" y="174"/>
                      <a:pt x="180" y="167"/>
                    </a:cubicBezTo>
                    <a:cubicBezTo>
                      <a:pt x="180" y="66"/>
                      <a:pt x="180" y="66"/>
                      <a:pt x="180" y="66"/>
                    </a:cubicBezTo>
                    <a:cubicBezTo>
                      <a:pt x="180" y="62"/>
                      <a:pt x="178" y="58"/>
                      <a:pt x="175" y="56"/>
                    </a:cubicBezTo>
                    <a:close/>
                    <a:moveTo>
                      <a:pt x="168" y="82"/>
                    </a:moveTo>
                    <a:cubicBezTo>
                      <a:pt x="90" y="135"/>
                      <a:pt x="90" y="135"/>
                      <a:pt x="90" y="135"/>
                    </a:cubicBezTo>
                    <a:cubicBezTo>
                      <a:pt x="11" y="82"/>
                      <a:pt x="11" y="82"/>
                      <a:pt x="11" y="82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1" y="68"/>
                      <a:pt x="14" y="65"/>
                      <a:pt x="17" y="65"/>
                    </a:cubicBezTo>
                    <a:cubicBezTo>
                      <a:pt x="162" y="65"/>
                      <a:pt x="162" y="65"/>
                      <a:pt x="162" y="65"/>
                    </a:cubicBezTo>
                    <a:cubicBezTo>
                      <a:pt x="166" y="65"/>
                      <a:pt x="168" y="68"/>
                      <a:pt x="168" y="71"/>
                    </a:cubicBezTo>
                    <a:lnTo>
                      <a:pt x="168" y="82"/>
                    </a:lnTo>
                    <a:close/>
                    <a:moveTo>
                      <a:pt x="97" y="84"/>
                    </a:moveTo>
                    <a:cubicBezTo>
                      <a:pt x="97" y="80"/>
                      <a:pt x="94" y="77"/>
                      <a:pt x="90" y="77"/>
                    </a:cubicBezTo>
                    <a:cubicBezTo>
                      <a:pt x="86" y="77"/>
                      <a:pt x="82" y="80"/>
                      <a:pt x="82" y="84"/>
                    </a:cubicBezTo>
                    <a:cubicBezTo>
                      <a:pt x="82" y="109"/>
                      <a:pt x="82" y="109"/>
                      <a:pt x="82" y="109"/>
                    </a:cubicBezTo>
                    <a:cubicBezTo>
                      <a:pt x="66" y="109"/>
                      <a:pt x="66" y="109"/>
                      <a:pt x="66" y="109"/>
                    </a:cubicBezTo>
                    <a:cubicBezTo>
                      <a:pt x="90" y="125"/>
                      <a:pt x="90" y="125"/>
                      <a:pt x="90" y="125"/>
                    </a:cubicBezTo>
                    <a:cubicBezTo>
                      <a:pt x="113" y="109"/>
                      <a:pt x="113" y="109"/>
                      <a:pt x="113" y="109"/>
                    </a:cubicBezTo>
                    <a:cubicBezTo>
                      <a:pt x="97" y="109"/>
                      <a:pt x="97" y="109"/>
                      <a:pt x="97" y="109"/>
                    </a:cubicBezTo>
                    <a:lnTo>
                      <a:pt x="97" y="8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62D1E2CD-E26D-4682-9148-7C91B9138029}"/>
                </a:ext>
              </a:extLst>
            </p:cNvPr>
            <p:cNvGrpSpPr/>
            <p:nvPr/>
          </p:nvGrpSpPr>
          <p:grpSpPr>
            <a:xfrm>
              <a:off x="5544024" y="1265887"/>
              <a:ext cx="1103958" cy="1103955"/>
              <a:chOff x="5152952" y="882800"/>
              <a:chExt cx="810007" cy="810006"/>
            </a:xfrm>
            <a:effectLst/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8812ECEA-701B-4967-8FA1-5A8FF58C530C}"/>
                  </a:ext>
                </a:extLst>
              </p:cNvPr>
              <p:cNvSpPr/>
              <p:nvPr/>
            </p:nvSpPr>
            <p:spPr>
              <a:xfrm>
                <a:off x="5152952" y="882800"/>
                <a:ext cx="810007" cy="810006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E5E3F8DD-0276-4300-B03B-EF2A3B5FCB42}"/>
                  </a:ext>
                </a:extLst>
              </p:cNvPr>
              <p:cNvSpPr/>
              <p:nvPr/>
            </p:nvSpPr>
            <p:spPr bwMode="auto">
              <a:xfrm>
                <a:off x="5367333" y="1135760"/>
                <a:ext cx="355667" cy="278512"/>
              </a:xfrm>
              <a:custGeom>
                <a:avLst/>
                <a:gdLst/>
                <a:ahLst/>
                <a:cxnLst>
                  <a:cxn ang="0">
                    <a:pos x="338" y="76"/>
                  </a:cxn>
                  <a:cxn ang="0">
                    <a:pos x="338" y="38"/>
                  </a:cxn>
                  <a:cxn ang="0">
                    <a:pos x="300" y="38"/>
                  </a:cxn>
                  <a:cxn ang="0">
                    <a:pos x="300" y="0"/>
                  </a:cxn>
                  <a:cxn ang="0">
                    <a:pos x="0" y="0"/>
                  </a:cxn>
                  <a:cxn ang="0">
                    <a:pos x="0" y="218"/>
                  </a:cxn>
                  <a:cxn ang="0">
                    <a:pos x="38" y="218"/>
                  </a:cxn>
                  <a:cxn ang="0">
                    <a:pos x="38" y="256"/>
                  </a:cxn>
                  <a:cxn ang="0">
                    <a:pos x="76" y="256"/>
                  </a:cxn>
                  <a:cxn ang="0">
                    <a:pos x="76" y="296"/>
                  </a:cxn>
                  <a:cxn ang="0">
                    <a:pos x="378" y="296"/>
                  </a:cxn>
                  <a:cxn ang="0">
                    <a:pos x="378" y="76"/>
                  </a:cxn>
                  <a:cxn ang="0">
                    <a:pos x="338" y="76"/>
                  </a:cxn>
                  <a:cxn ang="0">
                    <a:pos x="24" y="194"/>
                  </a:cxn>
                  <a:cxn ang="0">
                    <a:pos x="24" y="24"/>
                  </a:cxn>
                  <a:cxn ang="0">
                    <a:pos x="276" y="24"/>
                  </a:cxn>
                  <a:cxn ang="0">
                    <a:pos x="276" y="194"/>
                  </a:cxn>
                  <a:cxn ang="0">
                    <a:pos x="24" y="194"/>
                  </a:cxn>
                  <a:cxn ang="0">
                    <a:pos x="62" y="232"/>
                  </a:cxn>
                  <a:cxn ang="0">
                    <a:pos x="62" y="218"/>
                  </a:cxn>
                  <a:cxn ang="0">
                    <a:pos x="300" y="218"/>
                  </a:cxn>
                  <a:cxn ang="0">
                    <a:pos x="300" y="62"/>
                  </a:cxn>
                  <a:cxn ang="0">
                    <a:pos x="314" y="62"/>
                  </a:cxn>
                  <a:cxn ang="0">
                    <a:pos x="314" y="232"/>
                  </a:cxn>
                  <a:cxn ang="0">
                    <a:pos x="62" y="232"/>
                  </a:cxn>
                  <a:cxn ang="0">
                    <a:pos x="353" y="272"/>
                  </a:cxn>
                  <a:cxn ang="0">
                    <a:pos x="100" y="272"/>
                  </a:cxn>
                  <a:cxn ang="0">
                    <a:pos x="100" y="256"/>
                  </a:cxn>
                  <a:cxn ang="0">
                    <a:pos x="338" y="256"/>
                  </a:cxn>
                  <a:cxn ang="0">
                    <a:pos x="338" y="100"/>
                  </a:cxn>
                  <a:cxn ang="0">
                    <a:pos x="353" y="100"/>
                  </a:cxn>
                  <a:cxn ang="0">
                    <a:pos x="353" y="272"/>
                  </a:cxn>
                </a:cxnLst>
                <a:rect l="0" t="0" r="r" b="b"/>
                <a:pathLst>
                  <a:path w="378" h="296">
                    <a:moveTo>
                      <a:pt x="338" y="76"/>
                    </a:moveTo>
                    <a:lnTo>
                      <a:pt x="338" y="38"/>
                    </a:lnTo>
                    <a:lnTo>
                      <a:pt x="300" y="38"/>
                    </a:lnTo>
                    <a:lnTo>
                      <a:pt x="300" y="0"/>
                    </a:lnTo>
                    <a:lnTo>
                      <a:pt x="0" y="0"/>
                    </a:lnTo>
                    <a:lnTo>
                      <a:pt x="0" y="218"/>
                    </a:lnTo>
                    <a:lnTo>
                      <a:pt x="38" y="218"/>
                    </a:lnTo>
                    <a:lnTo>
                      <a:pt x="38" y="256"/>
                    </a:lnTo>
                    <a:lnTo>
                      <a:pt x="76" y="256"/>
                    </a:lnTo>
                    <a:lnTo>
                      <a:pt x="76" y="296"/>
                    </a:lnTo>
                    <a:lnTo>
                      <a:pt x="378" y="296"/>
                    </a:lnTo>
                    <a:lnTo>
                      <a:pt x="378" y="76"/>
                    </a:lnTo>
                    <a:lnTo>
                      <a:pt x="338" y="76"/>
                    </a:lnTo>
                    <a:close/>
                    <a:moveTo>
                      <a:pt x="24" y="194"/>
                    </a:moveTo>
                    <a:lnTo>
                      <a:pt x="24" y="24"/>
                    </a:lnTo>
                    <a:lnTo>
                      <a:pt x="276" y="24"/>
                    </a:lnTo>
                    <a:lnTo>
                      <a:pt x="276" y="194"/>
                    </a:lnTo>
                    <a:lnTo>
                      <a:pt x="24" y="194"/>
                    </a:lnTo>
                    <a:close/>
                    <a:moveTo>
                      <a:pt x="62" y="232"/>
                    </a:moveTo>
                    <a:lnTo>
                      <a:pt x="62" y="218"/>
                    </a:lnTo>
                    <a:lnTo>
                      <a:pt x="300" y="218"/>
                    </a:lnTo>
                    <a:lnTo>
                      <a:pt x="300" y="62"/>
                    </a:lnTo>
                    <a:lnTo>
                      <a:pt x="314" y="62"/>
                    </a:lnTo>
                    <a:lnTo>
                      <a:pt x="314" y="232"/>
                    </a:lnTo>
                    <a:lnTo>
                      <a:pt x="62" y="232"/>
                    </a:lnTo>
                    <a:close/>
                    <a:moveTo>
                      <a:pt x="353" y="272"/>
                    </a:moveTo>
                    <a:lnTo>
                      <a:pt x="100" y="272"/>
                    </a:lnTo>
                    <a:lnTo>
                      <a:pt x="100" y="256"/>
                    </a:lnTo>
                    <a:lnTo>
                      <a:pt x="338" y="256"/>
                    </a:lnTo>
                    <a:lnTo>
                      <a:pt x="338" y="100"/>
                    </a:lnTo>
                    <a:lnTo>
                      <a:pt x="353" y="100"/>
                    </a:lnTo>
                    <a:lnTo>
                      <a:pt x="353" y="27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94F4246F-120B-4397-973E-15DC256EC5C8}"/>
                </a:ext>
              </a:extLst>
            </p:cNvPr>
            <p:cNvCxnSpPr>
              <a:cxnSpLocks/>
            </p:cNvCxnSpPr>
            <p:nvPr/>
          </p:nvCxnSpPr>
          <p:spPr>
            <a:xfrm>
              <a:off x="9331325" y="3660930"/>
              <a:ext cx="21875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BCD3162B-C664-4784-B435-107AD9CB2F75}"/>
                </a:ext>
              </a:extLst>
            </p:cNvPr>
            <p:cNvGrpSpPr/>
            <p:nvPr/>
          </p:nvGrpSpPr>
          <p:grpSpPr>
            <a:xfrm>
              <a:off x="8505825" y="1444561"/>
              <a:ext cx="3013075" cy="1316618"/>
              <a:chOff x="660400" y="1447800"/>
              <a:chExt cx="3031978" cy="1316618"/>
            </a:xfrm>
          </p:grpSpPr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8DF307AD-84EB-4CA5-ADE1-AE9153B906D2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Copy paste fonts. Ch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ose the only option to retain 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 …</a:t>
                </a:r>
              </a:p>
            </p:txBody>
          </p:sp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427326B5-5306-4ECE-9E0D-C62AEBFEF3F2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过程</a:t>
                </a: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7C9670ED-11CF-43CC-A736-6DCE1FEF0644}"/>
                </a:ext>
              </a:extLst>
            </p:cNvPr>
            <p:cNvGrpSpPr/>
            <p:nvPr/>
          </p:nvGrpSpPr>
          <p:grpSpPr>
            <a:xfrm>
              <a:off x="660305" y="1444561"/>
              <a:ext cx="3013075" cy="1316618"/>
              <a:chOff x="660400" y="1447800"/>
              <a:chExt cx="3031978" cy="1316618"/>
            </a:xfrm>
          </p:grpSpPr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246ABA1A-AA47-45F1-83A6-3D92A27A81DC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Copy paste fonts. Ch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 …</a:t>
                </a:r>
              </a:p>
            </p:txBody>
          </p:sp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0B7FCD91-38B7-4AA6-8006-31785947CE56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过程</a:t>
                </a: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09CA47E6-24E6-42F3-862C-3A5B0BF58694}"/>
                </a:ext>
              </a:extLst>
            </p:cNvPr>
            <p:cNvGrpSpPr/>
            <p:nvPr/>
          </p:nvGrpSpPr>
          <p:grpSpPr>
            <a:xfrm>
              <a:off x="8505825" y="4561605"/>
              <a:ext cx="3013075" cy="1316618"/>
              <a:chOff x="660400" y="1447800"/>
              <a:chExt cx="3031978" cy="1316618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17699395-8E69-4BCD-827D-2D7E32777A3E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Copy paste fonts. Ch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ose the only option to retain 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 …</a:t>
                </a: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98EE0938-FE66-4E43-A8F6-410CA0F005BE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过程</a:t>
                </a: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51EAED07-0ED0-43CD-B5AC-58B68C81B348}"/>
                </a:ext>
              </a:extLst>
            </p:cNvPr>
            <p:cNvGrpSpPr/>
            <p:nvPr/>
          </p:nvGrpSpPr>
          <p:grpSpPr>
            <a:xfrm>
              <a:off x="660305" y="4561605"/>
              <a:ext cx="3013075" cy="1316618"/>
              <a:chOff x="660400" y="1447800"/>
              <a:chExt cx="3031978" cy="1316618"/>
            </a:xfrm>
          </p:grpSpPr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94E87DFB-8C0B-4A42-9056-F8DAF99A1BCE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Copy paste fonts. Ch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 …</a:t>
                </a: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1D88580F-2CE8-401D-B995-2D9B3DE5E7EA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过程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25407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研究过程</a:t>
            </a:r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932482" y="1864192"/>
            <a:ext cx="10293594" cy="3539240"/>
            <a:chOff x="932482" y="1864192"/>
            <a:chExt cx="10293594" cy="3539240"/>
          </a:xfrm>
        </p:grpSpPr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D5135C8C-6E1A-4D64-9A5A-77340D27E342}"/>
                </a:ext>
              </a:extLst>
            </p:cNvPr>
            <p:cNvSpPr/>
            <p:nvPr/>
          </p:nvSpPr>
          <p:spPr>
            <a:xfrm flipH="1">
              <a:off x="2986473" y="1900630"/>
              <a:ext cx="565904" cy="565904"/>
            </a:xfrm>
            <a:prstGeom prst="roundRect">
              <a:avLst>
                <a:gd name="adj" fmla="val 1655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5A6E663-F39A-4698-9EB7-3A790BECFBD7}"/>
                </a:ext>
              </a:extLst>
            </p:cNvPr>
            <p:cNvSpPr/>
            <p:nvPr/>
          </p:nvSpPr>
          <p:spPr>
            <a:xfrm flipH="1">
              <a:off x="3100485" y="2066925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B508E89A-69DF-41AB-ACAA-12FC051DD0DE}"/>
                </a:ext>
              </a:extLst>
            </p:cNvPr>
            <p:cNvSpPr/>
            <p:nvPr/>
          </p:nvSpPr>
          <p:spPr bwMode="auto">
            <a:xfrm>
              <a:off x="4980126" y="1864192"/>
              <a:ext cx="1081562" cy="1582231"/>
            </a:xfrm>
            <a:custGeom>
              <a:avLst/>
              <a:gdLst>
                <a:gd name="T0" fmla="*/ 64 w 307"/>
                <a:gd name="T1" fmla="*/ 28 h 449"/>
                <a:gd name="T2" fmla="*/ 201 w 307"/>
                <a:gd name="T3" fmla="*/ 65 h 449"/>
                <a:gd name="T4" fmla="*/ 307 w 307"/>
                <a:gd name="T5" fmla="*/ 249 h 449"/>
                <a:gd name="T6" fmla="*/ 307 w 307"/>
                <a:gd name="T7" fmla="*/ 449 h 449"/>
                <a:gd name="T8" fmla="*/ 134 w 307"/>
                <a:gd name="T9" fmla="*/ 349 h 449"/>
                <a:gd name="T10" fmla="*/ 28 w 307"/>
                <a:gd name="T11" fmla="*/ 165 h 449"/>
                <a:gd name="T12" fmla="*/ 64 w 307"/>
                <a:gd name="T13" fmla="*/ 28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449">
                  <a:moveTo>
                    <a:pt x="64" y="28"/>
                  </a:moveTo>
                  <a:cubicBezTo>
                    <a:pt x="112" y="0"/>
                    <a:pt x="173" y="17"/>
                    <a:pt x="201" y="65"/>
                  </a:cubicBezTo>
                  <a:cubicBezTo>
                    <a:pt x="307" y="249"/>
                    <a:pt x="307" y="249"/>
                    <a:pt x="307" y="249"/>
                  </a:cubicBezTo>
                  <a:cubicBezTo>
                    <a:pt x="307" y="449"/>
                    <a:pt x="307" y="449"/>
                    <a:pt x="307" y="449"/>
                  </a:cubicBezTo>
                  <a:cubicBezTo>
                    <a:pt x="134" y="349"/>
                    <a:pt x="134" y="349"/>
                    <a:pt x="134" y="349"/>
                  </a:cubicBezTo>
                  <a:cubicBezTo>
                    <a:pt x="28" y="165"/>
                    <a:pt x="28" y="165"/>
                    <a:pt x="28" y="165"/>
                  </a:cubicBezTo>
                  <a:cubicBezTo>
                    <a:pt x="0" y="117"/>
                    <a:pt x="16" y="56"/>
                    <a:pt x="64" y="2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CBA37136-205B-4425-BA6E-167D02EE0E0D}"/>
                </a:ext>
              </a:extLst>
            </p:cNvPr>
            <p:cNvSpPr/>
            <p:nvPr/>
          </p:nvSpPr>
          <p:spPr>
            <a:xfrm>
              <a:off x="5145829" y="2029499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77500" lnSpcReduction="20000"/>
            </a:bodyPr>
            <a:lstStyle/>
            <a:p>
              <a:pPr algn="ctr"/>
              <a:r>
                <a:rPr lang="en-US" sz="160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US" sz="10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US" sz="1600">
                  <a:solidFill>
                    <a:schemeClr val="tx1"/>
                  </a:solidFill>
                  <a:latin typeface="Impact" panose="020B0806030902050204" pitchFamily="34" charset="0"/>
                </a:rPr>
                <a:t>1</a:t>
              </a: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499AC86-B942-489B-9F84-BA6E8495FC56}"/>
                </a:ext>
              </a:extLst>
            </p:cNvPr>
            <p:cNvSpPr/>
            <p:nvPr/>
          </p:nvSpPr>
          <p:spPr bwMode="auto">
            <a:xfrm>
              <a:off x="6061688" y="1864192"/>
              <a:ext cx="1084533" cy="1582231"/>
            </a:xfrm>
            <a:custGeom>
              <a:avLst/>
              <a:gdLst>
                <a:gd name="T0" fmla="*/ 243 w 308"/>
                <a:gd name="T1" fmla="*/ 28 h 449"/>
                <a:gd name="T2" fmla="*/ 280 w 308"/>
                <a:gd name="T3" fmla="*/ 165 h 449"/>
                <a:gd name="T4" fmla="*/ 174 w 308"/>
                <a:gd name="T5" fmla="*/ 349 h 449"/>
                <a:gd name="T6" fmla="*/ 0 w 308"/>
                <a:gd name="T7" fmla="*/ 449 h 449"/>
                <a:gd name="T8" fmla="*/ 0 w 308"/>
                <a:gd name="T9" fmla="*/ 249 h 449"/>
                <a:gd name="T10" fmla="*/ 107 w 308"/>
                <a:gd name="T11" fmla="*/ 65 h 449"/>
                <a:gd name="T12" fmla="*/ 243 w 308"/>
                <a:gd name="T13" fmla="*/ 28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49">
                  <a:moveTo>
                    <a:pt x="243" y="28"/>
                  </a:moveTo>
                  <a:cubicBezTo>
                    <a:pt x="291" y="56"/>
                    <a:pt x="308" y="117"/>
                    <a:pt x="280" y="165"/>
                  </a:cubicBezTo>
                  <a:cubicBezTo>
                    <a:pt x="174" y="349"/>
                    <a:pt x="174" y="349"/>
                    <a:pt x="174" y="349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249"/>
                    <a:pt x="0" y="249"/>
                    <a:pt x="0" y="249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34" y="17"/>
                    <a:pt x="196" y="0"/>
                    <a:pt x="243" y="2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80E983E9-1708-4CA7-83FA-96012C0AF55B}"/>
                </a:ext>
              </a:extLst>
            </p:cNvPr>
            <p:cNvSpPr/>
            <p:nvPr/>
          </p:nvSpPr>
          <p:spPr>
            <a:xfrm>
              <a:off x="6499284" y="2029499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70000" lnSpcReduction="20000"/>
            </a:bodyPr>
            <a:lstStyle/>
            <a:p>
              <a:pPr algn="ctr"/>
              <a:r>
                <a:rPr lang="en-US" sz="160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US" sz="10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US" sz="1600">
                  <a:solidFill>
                    <a:schemeClr val="tx1"/>
                  </a:solidFill>
                  <a:latin typeface="Impact" panose="020B0806030902050204" pitchFamily="34" charset="0"/>
                </a:rPr>
                <a:t>6</a:t>
              </a: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8CA2F4B9-96F0-4E8B-9569-A09627424229}"/>
                </a:ext>
              </a:extLst>
            </p:cNvPr>
            <p:cNvSpPr/>
            <p:nvPr/>
          </p:nvSpPr>
          <p:spPr bwMode="auto">
            <a:xfrm>
              <a:off x="4980126" y="3446423"/>
              <a:ext cx="1081562" cy="1582231"/>
            </a:xfrm>
            <a:custGeom>
              <a:avLst/>
              <a:gdLst>
                <a:gd name="T0" fmla="*/ 64 w 307"/>
                <a:gd name="T1" fmla="*/ 421 h 449"/>
                <a:gd name="T2" fmla="*/ 201 w 307"/>
                <a:gd name="T3" fmla="*/ 384 h 449"/>
                <a:gd name="T4" fmla="*/ 307 w 307"/>
                <a:gd name="T5" fmla="*/ 200 h 449"/>
                <a:gd name="T6" fmla="*/ 307 w 307"/>
                <a:gd name="T7" fmla="*/ 0 h 449"/>
                <a:gd name="T8" fmla="*/ 134 w 307"/>
                <a:gd name="T9" fmla="*/ 100 h 449"/>
                <a:gd name="T10" fmla="*/ 28 w 307"/>
                <a:gd name="T11" fmla="*/ 284 h 449"/>
                <a:gd name="T12" fmla="*/ 64 w 307"/>
                <a:gd name="T13" fmla="*/ 421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449">
                  <a:moveTo>
                    <a:pt x="64" y="421"/>
                  </a:moveTo>
                  <a:cubicBezTo>
                    <a:pt x="112" y="449"/>
                    <a:pt x="173" y="432"/>
                    <a:pt x="201" y="384"/>
                  </a:cubicBezTo>
                  <a:cubicBezTo>
                    <a:pt x="307" y="200"/>
                    <a:pt x="307" y="200"/>
                    <a:pt x="307" y="20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134" y="100"/>
                    <a:pt x="134" y="100"/>
                    <a:pt x="134" y="100"/>
                  </a:cubicBezTo>
                  <a:cubicBezTo>
                    <a:pt x="28" y="284"/>
                    <a:pt x="28" y="284"/>
                    <a:pt x="28" y="284"/>
                  </a:cubicBezTo>
                  <a:cubicBezTo>
                    <a:pt x="0" y="332"/>
                    <a:pt x="16" y="393"/>
                    <a:pt x="64" y="42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9ECB585A-2557-4741-9C49-6053A4591C23}"/>
                </a:ext>
              </a:extLst>
            </p:cNvPr>
            <p:cNvSpPr/>
            <p:nvPr/>
          </p:nvSpPr>
          <p:spPr>
            <a:xfrm>
              <a:off x="5145829" y="4376777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70000" lnSpcReduction="20000"/>
            </a:bodyPr>
            <a:lstStyle/>
            <a:p>
              <a:pPr algn="ctr"/>
              <a:r>
                <a:rPr lang="en-US" sz="160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US" sz="10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US" sz="1600">
                  <a:solidFill>
                    <a:schemeClr val="tx1"/>
                  </a:solidFill>
                  <a:latin typeface="Impact" panose="020B0806030902050204" pitchFamily="34" charset="0"/>
                </a:rPr>
                <a:t>3</a:t>
              </a: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377F3FF-4136-4FCE-B7BA-49422008274C}"/>
                </a:ext>
              </a:extLst>
            </p:cNvPr>
            <p:cNvSpPr/>
            <p:nvPr/>
          </p:nvSpPr>
          <p:spPr bwMode="auto">
            <a:xfrm>
              <a:off x="6061688" y="3446423"/>
              <a:ext cx="1084533" cy="1582231"/>
            </a:xfrm>
            <a:custGeom>
              <a:avLst/>
              <a:gdLst>
                <a:gd name="T0" fmla="*/ 243 w 308"/>
                <a:gd name="T1" fmla="*/ 421 h 449"/>
                <a:gd name="T2" fmla="*/ 280 w 308"/>
                <a:gd name="T3" fmla="*/ 284 h 449"/>
                <a:gd name="T4" fmla="*/ 174 w 308"/>
                <a:gd name="T5" fmla="*/ 100 h 449"/>
                <a:gd name="T6" fmla="*/ 0 w 308"/>
                <a:gd name="T7" fmla="*/ 0 h 449"/>
                <a:gd name="T8" fmla="*/ 0 w 308"/>
                <a:gd name="T9" fmla="*/ 200 h 449"/>
                <a:gd name="T10" fmla="*/ 107 w 308"/>
                <a:gd name="T11" fmla="*/ 384 h 449"/>
                <a:gd name="T12" fmla="*/ 243 w 308"/>
                <a:gd name="T13" fmla="*/ 421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49">
                  <a:moveTo>
                    <a:pt x="243" y="421"/>
                  </a:moveTo>
                  <a:cubicBezTo>
                    <a:pt x="291" y="393"/>
                    <a:pt x="308" y="332"/>
                    <a:pt x="280" y="284"/>
                  </a:cubicBezTo>
                  <a:cubicBezTo>
                    <a:pt x="174" y="100"/>
                    <a:pt x="174" y="100"/>
                    <a:pt x="174" y="1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107" y="384"/>
                    <a:pt x="107" y="384"/>
                    <a:pt x="107" y="384"/>
                  </a:cubicBezTo>
                  <a:cubicBezTo>
                    <a:pt x="134" y="432"/>
                    <a:pt x="196" y="449"/>
                    <a:pt x="243" y="42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DB83D3AF-166E-48BE-B678-29B3A42823EE}"/>
                </a:ext>
              </a:extLst>
            </p:cNvPr>
            <p:cNvSpPr/>
            <p:nvPr/>
          </p:nvSpPr>
          <p:spPr>
            <a:xfrm>
              <a:off x="6499284" y="4376777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77500" lnSpcReduction="20000"/>
            </a:bodyPr>
            <a:lstStyle/>
            <a:p>
              <a:pPr lvl="0" algn="ctr"/>
              <a:r>
                <a:rPr lang="en-US" sz="160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US" sz="10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US" sz="1600">
                  <a:solidFill>
                    <a:schemeClr val="tx1"/>
                  </a:solidFill>
                  <a:latin typeface="Impact" panose="020B0806030902050204" pitchFamily="34" charset="0"/>
                </a:rPr>
                <a:t>4</a:t>
              </a: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C0FC8843-E6F7-4E18-857D-F6B75D4E824C}"/>
                </a:ext>
              </a:extLst>
            </p:cNvPr>
            <p:cNvSpPr/>
            <p:nvPr/>
          </p:nvSpPr>
          <p:spPr bwMode="auto">
            <a:xfrm>
              <a:off x="6061688" y="3094321"/>
              <a:ext cx="1714454" cy="704204"/>
            </a:xfrm>
            <a:custGeom>
              <a:avLst/>
              <a:gdLst>
                <a:gd name="T0" fmla="*/ 487 w 487"/>
                <a:gd name="T1" fmla="*/ 100 h 200"/>
                <a:gd name="T2" fmla="*/ 387 w 487"/>
                <a:gd name="T3" fmla="*/ 200 h 200"/>
                <a:gd name="T4" fmla="*/ 174 w 487"/>
                <a:gd name="T5" fmla="*/ 200 h 200"/>
                <a:gd name="T6" fmla="*/ 0 w 487"/>
                <a:gd name="T7" fmla="*/ 100 h 200"/>
                <a:gd name="T8" fmla="*/ 174 w 487"/>
                <a:gd name="T9" fmla="*/ 0 h 200"/>
                <a:gd name="T10" fmla="*/ 387 w 487"/>
                <a:gd name="T11" fmla="*/ 0 h 200"/>
                <a:gd name="T12" fmla="*/ 487 w 487"/>
                <a:gd name="T13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7" h="200">
                  <a:moveTo>
                    <a:pt x="487" y="100"/>
                  </a:moveTo>
                  <a:cubicBezTo>
                    <a:pt x="487" y="155"/>
                    <a:pt x="442" y="200"/>
                    <a:pt x="387" y="200"/>
                  </a:cubicBezTo>
                  <a:cubicBezTo>
                    <a:pt x="174" y="200"/>
                    <a:pt x="174" y="200"/>
                    <a:pt x="174" y="2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442" y="0"/>
                    <a:pt x="486" y="45"/>
                    <a:pt x="487" y="10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CBCE864F-FB08-43D9-92FA-9883A87F8105}"/>
                </a:ext>
              </a:extLst>
            </p:cNvPr>
            <p:cNvSpPr/>
            <p:nvPr/>
          </p:nvSpPr>
          <p:spPr>
            <a:xfrm>
              <a:off x="7169319" y="3206175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77500" lnSpcReduction="20000"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US" sz="10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US" sz="1400">
                  <a:solidFill>
                    <a:schemeClr val="tx1"/>
                  </a:solidFill>
                  <a:latin typeface="Impact" panose="020B0806030902050204" pitchFamily="34" charset="0"/>
                </a:rPr>
                <a:t>5</a:t>
              </a:r>
              <a:endParaRPr lang="en-US" sz="14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BF31B1D7-84D1-40CB-8E5B-908EA0DD278D}"/>
                </a:ext>
              </a:extLst>
            </p:cNvPr>
            <p:cNvSpPr/>
            <p:nvPr/>
          </p:nvSpPr>
          <p:spPr bwMode="auto">
            <a:xfrm>
              <a:off x="4350205" y="3094321"/>
              <a:ext cx="1711483" cy="704204"/>
            </a:xfrm>
            <a:custGeom>
              <a:avLst/>
              <a:gdLst>
                <a:gd name="T0" fmla="*/ 0 w 486"/>
                <a:gd name="T1" fmla="*/ 100 h 200"/>
                <a:gd name="T2" fmla="*/ 100 w 486"/>
                <a:gd name="T3" fmla="*/ 200 h 200"/>
                <a:gd name="T4" fmla="*/ 313 w 486"/>
                <a:gd name="T5" fmla="*/ 200 h 200"/>
                <a:gd name="T6" fmla="*/ 486 w 486"/>
                <a:gd name="T7" fmla="*/ 100 h 200"/>
                <a:gd name="T8" fmla="*/ 313 w 486"/>
                <a:gd name="T9" fmla="*/ 0 h 200"/>
                <a:gd name="T10" fmla="*/ 100 w 486"/>
                <a:gd name="T11" fmla="*/ 0 h 200"/>
                <a:gd name="T12" fmla="*/ 0 w 486"/>
                <a:gd name="T13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" h="200">
                  <a:moveTo>
                    <a:pt x="0" y="100"/>
                  </a:moveTo>
                  <a:cubicBezTo>
                    <a:pt x="0" y="155"/>
                    <a:pt x="45" y="200"/>
                    <a:pt x="100" y="200"/>
                  </a:cubicBezTo>
                  <a:cubicBezTo>
                    <a:pt x="313" y="200"/>
                    <a:pt x="313" y="200"/>
                    <a:pt x="313" y="200"/>
                  </a:cubicBezTo>
                  <a:cubicBezTo>
                    <a:pt x="486" y="100"/>
                    <a:pt x="486" y="100"/>
                    <a:pt x="486" y="100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45"/>
                    <a:pt x="0" y="10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EFFECF04-60BC-43A4-BD92-FF2AB4AF939A}"/>
                </a:ext>
              </a:extLst>
            </p:cNvPr>
            <p:cNvSpPr/>
            <p:nvPr/>
          </p:nvSpPr>
          <p:spPr>
            <a:xfrm>
              <a:off x="4478591" y="3206175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85000" lnSpcReduction="10000"/>
            </a:bodyPr>
            <a:lstStyle/>
            <a:p>
              <a:pPr algn="ctr"/>
              <a:r>
                <a:rPr lang="en-AU" sz="140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AU" sz="10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AU" sz="1400">
                  <a:solidFill>
                    <a:schemeClr val="tx1"/>
                  </a:solidFill>
                  <a:latin typeface="Impact" panose="020B0806030902050204" pitchFamily="34" charset="0"/>
                </a:rPr>
                <a:t>2</a:t>
              </a:r>
              <a:endParaRPr lang="en-AU" sz="14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C8B9F2BE-2FCE-433F-A9AF-B0D06D420FBA}"/>
                </a:ext>
              </a:extLst>
            </p:cNvPr>
            <p:cNvSpPr txBox="1"/>
            <p:nvPr/>
          </p:nvSpPr>
          <p:spPr>
            <a:xfrm>
              <a:off x="9327004" y="1866224"/>
              <a:ext cx="1830523" cy="25814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r>
                <a:rPr lang="en-US" altLang="zh-CN" sz="1400" b="1" dirty="0"/>
                <a:t>…</a:t>
              </a:r>
              <a:r>
                <a:rPr lang="zh-CN" altLang="en-US" sz="1400" b="1" dirty="0"/>
                <a:t>过程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91B809D2-94A3-4D8B-8E70-CD7FDBDA0C97}"/>
                </a:ext>
              </a:extLst>
            </p:cNvPr>
            <p:cNvSpPr txBox="1"/>
            <p:nvPr/>
          </p:nvSpPr>
          <p:spPr>
            <a:xfrm>
              <a:off x="9327006" y="2132333"/>
              <a:ext cx="1899070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900">
                  <a:solidFill>
                    <a:srgbClr val="656D78"/>
                  </a:solidFill>
                </a:rPr>
                <a:t>C</a:t>
              </a:r>
              <a:r>
                <a:rPr lang="en-US" altLang="zh-CN" sz="100">
                  <a:solidFill>
                    <a:srgbClr val="656D78"/>
                  </a:solidFill>
                </a:rPr>
                <a:t> </a:t>
              </a:r>
              <a:r>
                <a:rPr lang="en-US" altLang="zh-CN" sz="900">
                  <a:solidFill>
                    <a:srgbClr val="656D78"/>
                  </a:solidFill>
                </a:rPr>
                <a:t>opy </a:t>
              </a:r>
              <a:r>
                <a:rPr lang="en-US" altLang="zh-CN" sz="900" dirty="0">
                  <a:solidFill>
                    <a:srgbClr val="656D78"/>
                  </a:solidFill>
                </a:rPr>
                <a:t>paste fonts. Choose the only option to retain text.</a:t>
              </a: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ED52FC30-BC25-49BC-A992-C29D63D5A07D}"/>
                </a:ext>
              </a:extLst>
            </p:cNvPr>
            <p:cNvSpPr txBox="1"/>
            <p:nvPr/>
          </p:nvSpPr>
          <p:spPr>
            <a:xfrm>
              <a:off x="9327004" y="3129067"/>
              <a:ext cx="1830523" cy="25691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r>
                <a:rPr lang="en-US" altLang="zh-CN" sz="1400" b="1" dirty="0"/>
                <a:t>…</a:t>
              </a:r>
              <a:r>
                <a:rPr lang="zh-CN" altLang="en-US" sz="1400" b="1" dirty="0"/>
                <a:t>过程</a:t>
              </a: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E0499667-AE24-4F09-9C54-EF6222B0052C}"/>
                </a:ext>
              </a:extLst>
            </p:cNvPr>
            <p:cNvSpPr txBox="1"/>
            <p:nvPr/>
          </p:nvSpPr>
          <p:spPr>
            <a:xfrm>
              <a:off x="9327006" y="3395177"/>
              <a:ext cx="1899070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900">
                  <a:solidFill>
                    <a:srgbClr val="656D78"/>
                  </a:solidFill>
                </a:rPr>
                <a:t>C</a:t>
              </a:r>
              <a:r>
                <a:rPr lang="en-US" altLang="zh-CN" sz="100">
                  <a:solidFill>
                    <a:srgbClr val="656D78"/>
                  </a:solidFill>
                </a:rPr>
                <a:t> </a:t>
              </a:r>
              <a:r>
                <a:rPr lang="en-US" altLang="zh-CN" sz="900">
                  <a:solidFill>
                    <a:srgbClr val="656D78"/>
                  </a:solidFill>
                </a:rPr>
                <a:t>opy </a:t>
              </a:r>
              <a:r>
                <a:rPr lang="en-US" altLang="zh-CN" sz="900" dirty="0">
                  <a:solidFill>
                    <a:srgbClr val="656D78"/>
                  </a:solidFill>
                </a:rPr>
                <a:t>paste fonts. Choose the only option to retain text.</a:t>
              </a: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C5ABD990-CEF2-4FC0-8A7F-BBF540447024}"/>
                </a:ext>
              </a:extLst>
            </p:cNvPr>
            <p:cNvSpPr txBox="1"/>
            <p:nvPr/>
          </p:nvSpPr>
          <p:spPr>
            <a:xfrm>
              <a:off x="9327005" y="4391912"/>
              <a:ext cx="1899070" cy="26610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r>
                <a:rPr lang="en-US" altLang="zh-CN" sz="1400" b="1" dirty="0"/>
                <a:t>…</a:t>
              </a:r>
              <a:r>
                <a:rPr lang="zh-CN" altLang="en-US" sz="1400" b="1" dirty="0"/>
                <a:t>过程</a:t>
              </a: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4ED361C4-DCE4-4B48-B1EF-3B391450C0D0}"/>
                </a:ext>
              </a:extLst>
            </p:cNvPr>
            <p:cNvSpPr txBox="1"/>
            <p:nvPr/>
          </p:nvSpPr>
          <p:spPr>
            <a:xfrm>
              <a:off x="9327006" y="4658021"/>
              <a:ext cx="1899070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900">
                  <a:solidFill>
                    <a:srgbClr val="656D78"/>
                  </a:solidFill>
                </a:rPr>
                <a:t>C</a:t>
              </a:r>
              <a:r>
                <a:rPr lang="en-US" altLang="zh-CN" sz="100">
                  <a:solidFill>
                    <a:srgbClr val="656D78"/>
                  </a:solidFill>
                </a:rPr>
                <a:t> </a:t>
              </a:r>
              <a:r>
                <a:rPr lang="en-US" altLang="zh-CN" sz="900">
                  <a:solidFill>
                    <a:srgbClr val="656D78"/>
                  </a:solidFill>
                </a:rPr>
                <a:t>opy </a:t>
              </a:r>
              <a:r>
                <a:rPr lang="en-US" altLang="zh-CN" sz="900" dirty="0">
                  <a:solidFill>
                    <a:srgbClr val="656D78"/>
                  </a:solidFill>
                </a:rPr>
                <a:t>paste fonts. Choose the only option to retain text.</a:t>
              </a:r>
            </a:p>
          </p:txBody>
        </p:sp>
        <p:sp>
          <p:nvSpPr>
            <p:cNvPr id="26" name="矩形: 圆角 25">
              <a:extLst>
                <a:ext uri="{FF2B5EF4-FFF2-40B4-BE49-F238E27FC236}">
                  <a16:creationId xmlns:a16="http://schemas.microsoft.com/office/drawing/2014/main" id="{D5B99C48-0FA2-4681-994F-547E2AB458C9}"/>
                </a:ext>
              </a:extLst>
            </p:cNvPr>
            <p:cNvSpPr/>
            <p:nvPr/>
          </p:nvSpPr>
          <p:spPr>
            <a:xfrm>
              <a:off x="8564887" y="1896398"/>
              <a:ext cx="585634" cy="565904"/>
            </a:xfrm>
            <a:prstGeom prst="roundRect">
              <a:avLst>
                <a:gd name="adj" fmla="val 1655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7" name="矩形: 圆角 26">
              <a:extLst>
                <a:ext uri="{FF2B5EF4-FFF2-40B4-BE49-F238E27FC236}">
                  <a16:creationId xmlns:a16="http://schemas.microsoft.com/office/drawing/2014/main" id="{476E9F31-3410-4E3A-988A-F59E239E9082}"/>
                </a:ext>
              </a:extLst>
            </p:cNvPr>
            <p:cNvSpPr/>
            <p:nvPr/>
          </p:nvSpPr>
          <p:spPr>
            <a:xfrm>
              <a:off x="8564887" y="3159240"/>
              <a:ext cx="585634" cy="565904"/>
            </a:xfrm>
            <a:prstGeom prst="roundRect">
              <a:avLst>
                <a:gd name="adj" fmla="val 1655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8" name="矩形: 圆角 27">
              <a:extLst>
                <a:ext uri="{FF2B5EF4-FFF2-40B4-BE49-F238E27FC236}">
                  <a16:creationId xmlns:a16="http://schemas.microsoft.com/office/drawing/2014/main" id="{B771533E-DF3D-4093-AD57-DBD0CD94696B}"/>
                </a:ext>
              </a:extLst>
            </p:cNvPr>
            <p:cNvSpPr/>
            <p:nvPr/>
          </p:nvSpPr>
          <p:spPr>
            <a:xfrm>
              <a:off x="8564887" y="4422083"/>
              <a:ext cx="585634" cy="565904"/>
            </a:xfrm>
            <a:prstGeom prst="roundRect">
              <a:avLst>
                <a:gd name="adj" fmla="val 1655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lvl="0" algn="ctr"/>
              <a:endParaRPr lang="en-US" sz="16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5ECD77FA-F3F2-425F-A62A-2380E9AE06EE}"/>
                </a:ext>
              </a:extLst>
            </p:cNvPr>
            <p:cNvSpPr txBox="1"/>
            <p:nvPr/>
          </p:nvSpPr>
          <p:spPr>
            <a:xfrm flipH="1">
              <a:off x="965924" y="1870456"/>
              <a:ext cx="1824333" cy="26187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r"/>
              <a:r>
                <a:rPr lang="en-US" altLang="zh-CN" sz="1400" b="1" dirty="0"/>
                <a:t>…</a:t>
              </a:r>
              <a:r>
                <a:rPr lang="zh-CN" altLang="en-US" sz="1400" b="1" dirty="0"/>
                <a:t>过程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9AD23554-5196-4F81-9246-0D6421D282AC}"/>
                </a:ext>
              </a:extLst>
            </p:cNvPr>
            <p:cNvSpPr txBox="1"/>
            <p:nvPr/>
          </p:nvSpPr>
          <p:spPr>
            <a:xfrm flipH="1">
              <a:off x="932482" y="2136565"/>
              <a:ext cx="1857775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900">
                  <a:solidFill>
                    <a:srgbClr val="656D78"/>
                  </a:solidFill>
                </a:rPr>
                <a:t>C</a:t>
              </a:r>
              <a:r>
                <a:rPr lang="en-US" altLang="zh-CN" sz="100">
                  <a:solidFill>
                    <a:srgbClr val="656D78"/>
                  </a:solidFill>
                </a:rPr>
                <a:t> </a:t>
              </a:r>
              <a:r>
                <a:rPr lang="en-US" altLang="zh-CN" sz="900">
                  <a:solidFill>
                    <a:srgbClr val="656D78"/>
                  </a:solidFill>
                </a:rPr>
                <a:t>opy </a:t>
              </a:r>
              <a:r>
                <a:rPr lang="en-US" altLang="zh-CN" sz="900" dirty="0">
                  <a:solidFill>
                    <a:srgbClr val="656D78"/>
                  </a:solidFill>
                </a:rPr>
                <a:t>paste fonts. Choose the only option to retain text.</a:t>
              </a: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B244D798-E67A-4252-AFFF-87608A59C8A8}"/>
                </a:ext>
              </a:extLst>
            </p:cNvPr>
            <p:cNvSpPr txBox="1"/>
            <p:nvPr/>
          </p:nvSpPr>
          <p:spPr>
            <a:xfrm flipH="1">
              <a:off x="965924" y="3133299"/>
              <a:ext cx="1824333" cy="26187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r"/>
              <a:r>
                <a:rPr lang="en-US" altLang="zh-CN" sz="1400" b="1" dirty="0"/>
                <a:t>…</a:t>
              </a:r>
              <a:r>
                <a:rPr lang="zh-CN" altLang="en-US" sz="1400" b="1" dirty="0"/>
                <a:t>过程</a:t>
              </a: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794D6413-13E8-40D4-B19B-F7E7916F6FFD}"/>
                </a:ext>
              </a:extLst>
            </p:cNvPr>
            <p:cNvSpPr txBox="1"/>
            <p:nvPr/>
          </p:nvSpPr>
          <p:spPr>
            <a:xfrm flipH="1">
              <a:off x="932482" y="3399409"/>
              <a:ext cx="1857775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900">
                  <a:solidFill>
                    <a:srgbClr val="656D78"/>
                  </a:solidFill>
                </a:rPr>
                <a:t>C</a:t>
              </a:r>
              <a:r>
                <a:rPr lang="en-US" altLang="zh-CN" sz="100">
                  <a:solidFill>
                    <a:srgbClr val="656D78"/>
                  </a:solidFill>
                </a:rPr>
                <a:t> </a:t>
              </a:r>
              <a:r>
                <a:rPr lang="en-US" altLang="zh-CN" sz="900">
                  <a:solidFill>
                    <a:srgbClr val="656D78"/>
                  </a:solidFill>
                </a:rPr>
                <a:t>opy </a:t>
              </a:r>
              <a:r>
                <a:rPr lang="en-US" altLang="zh-CN" sz="900" dirty="0">
                  <a:solidFill>
                    <a:srgbClr val="656D78"/>
                  </a:solidFill>
                </a:rPr>
                <a:t>paste fonts. Choose the only option to retain text.</a:t>
              </a:r>
            </a:p>
          </p:txBody>
        </p:sp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B3D2C4D7-6783-4B04-9E1C-20BFD9F96918}"/>
                </a:ext>
              </a:extLst>
            </p:cNvPr>
            <p:cNvSpPr txBox="1"/>
            <p:nvPr/>
          </p:nvSpPr>
          <p:spPr>
            <a:xfrm flipH="1">
              <a:off x="965924" y="4396143"/>
              <a:ext cx="1824333" cy="26187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r"/>
              <a:r>
                <a:rPr lang="en-US" altLang="zh-CN" sz="1400" b="1" dirty="0"/>
                <a:t>…</a:t>
              </a:r>
              <a:r>
                <a:rPr lang="zh-CN" altLang="en-US" sz="1400" b="1" dirty="0"/>
                <a:t>过程</a:t>
              </a: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E2D4F6D0-63D7-4A18-BC05-BEBF6A9D14D7}"/>
                </a:ext>
              </a:extLst>
            </p:cNvPr>
            <p:cNvSpPr txBox="1"/>
            <p:nvPr/>
          </p:nvSpPr>
          <p:spPr>
            <a:xfrm flipH="1">
              <a:off x="932482" y="4662253"/>
              <a:ext cx="1857775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900">
                  <a:solidFill>
                    <a:srgbClr val="656D78"/>
                  </a:solidFill>
                </a:rPr>
                <a:t>C</a:t>
              </a:r>
              <a:r>
                <a:rPr lang="en-US" altLang="zh-CN" sz="100">
                  <a:solidFill>
                    <a:srgbClr val="656D78"/>
                  </a:solidFill>
                </a:rPr>
                <a:t> </a:t>
              </a:r>
              <a:r>
                <a:rPr lang="en-US" altLang="zh-CN" sz="900">
                  <a:solidFill>
                    <a:srgbClr val="656D78"/>
                  </a:solidFill>
                </a:rPr>
                <a:t>opy </a:t>
              </a:r>
              <a:r>
                <a:rPr lang="en-US" altLang="zh-CN" sz="900" dirty="0">
                  <a:solidFill>
                    <a:srgbClr val="656D78"/>
                  </a:solidFill>
                </a:rPr>
                <a:t>paste fonts. Choose the only option to retain text.</a:t>
              </a:r>
            </a:p>
          </p:txBody>
        </p:sp>
        <p:sp>
          <p:nvSpPr>
            <p:cNvPr id="35" name="矩形: 圆角 34">
              <a:extLst>
                <a:ext uri="{FF2B5EF4-FFF2-40B4-BE49-F238E27FC236}">
                  <a16:creationId xmlns:a16="http://schemas.microsoft.com/office/drawing/2014/main" id="{8BAC4E34-28F4-4F4B-AA59-5A5445FDD83D}"/>
                </a:ext>
              </a:extLst>
            </p:cNvPr>
            <p:cNvSpPr/>
            <p:nvPr/>
          </p:nvSpPr>
          <p:spPr>
            <a:xfrm flipH="1">
              <a:off x="2986473" y="3163472"/>
              <a:ext cx="565904" cy="565904"/>
            </a:xfrm>
            <a:prstGeom prst="roundRect">
              <a:avLst>
                <a:gd name="adj" fmla="val 1655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endParaRPr lang="en-AU" sz="16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6" name="矩形: 圆角 35">
              <a:extLst>
                <a:ext uri="{FF2B5EF4-FFF2-40B4-BE49-F238E27FC236}">
                  <a16:creationId xmlns:a16="http://schemas.microsoft.com/office/drawing/2014/main" id="{CA6B5563-614E-4286-81F6-5F83AC9F32AB}"/>
                </a:ext>
              </a:extLst>
            </p:cNvPr>
            <p:cNvSpPr/>
            <p:nvPr/>
          </p:nvSpPr>
          <p:spPr>
            <a:xfrm flipH="1">
              <a:off x="2986473" y="4426315"/>
              <a:ext cx="565904" cy="565904"/>
            </a:xfrm>
            <a:prstGeom prst="roundRect">
              <a:avLst>
                <a:gd name="adj" fmla="val 1655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F83770A1-4F97-4306-814C-8827E51C62B2}"/>
                </a:ext>
              </a:extLst>
            </p:cNvPr>
            <p:cNvSpPr/>
            <p:nvPr/>
          </p:nvSpPr>
          <p:spPr>
            <a:xfrm flipH="1">
              <a:off x="3100485" y="3329767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95284053-1EED-4423-BE48-2666E7F994BF}"/>
                </a:ext>
              </a:extLst>
            </p:cNvPr>
            <p:cNvSpPr/>
            <p:nvPr/>
          </p:nvSpPr>
          <p:spPr>
            <a:xfrm flipH="1">
              <a:off x="3100485" y="4592610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70C638CD-90DF-4D71-9F98-8088E39353A0}"/>
                </a:ext>
              </a:extLst>
            </p:cNvPr>
            <p:cNvSpPr/>
            <p:nvPr/>
          </p:nvSpPr>
          <p:spPr>
            <a:xfrm flipH="1">
              <a:off x="8688764" y="4588378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A3AC3CB0-FE99-47DC-A294-94294EDC0DE2}"/>
                </a:ext>
              </a:extLst>
            </p:cNvPr>
            <p:cNvSpPr/>
            <p:nvPr/>
          </p:nvSpPr>
          <p:spPr>
            <a:xfrm flipH="1">
              <a:off x="8688764" y="3325535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FBE8645-04F6-4C75-9990-E6BFC67F6D3E}"/>
                </a:ext>
              </a:extLst>
            </p:cNvPr>
            <p:cNvSpPr/>
            <p:nvPr/>
          </p:nvSpPr>
          <p:spPr>
            <a:xfrm flipH="1">
              <a:off x="8688764" y="2062693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1113697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总结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44772" y="2667679"/>
            <a:ext cx="1861056" cy="161811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1620000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8841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总结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4841" y="1467032"/>
            <a:ext cx="10847195" cy="4288309"/>
            <a:chOff x="664841" y="1467032"/>
            <a:chExt cx="10847195" cy="4288309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FADC7B4E-8F41-41F1-99CE-6C9626E9FA6B}"/>
                </a:ext>
              </a:extLst>
            </p:cNvPr>
            <p:cNvSpPr/>
            <p:nvPr/>
          </p:nvSpPr>
          <p:spPr bwMode="auto">
            <a:xfrm rot="21053145" flipH="1">
              <a:off x="5771668" y="1761564"/>
              <a:ext cx="2431618" cy="1862478"/>
            </a:xfrm>
            <a:custGeom>
              <a:avLst/>
              <a:gdLst>
                <a:gd name="T0" fmla="*/ 5 w 543"/>
                <a:gd name="T1" fmla="*/ 416 h 416"/>
                <a:gd name="T2" fmla="*/ 151 w 543"/>
                <a:gd name="T3" fmla="*/ 397 h 416"/>
                <a:gd name="T4" fmla="*/ 173 w 543"/>
                <a:gd name="T5" fmla="*/ 339 h 416"/>
                <a:gd name="T6" fmla="*/ 234 w 543"/>
                <a:gd name="T7" fmla="*/ 305 h 416"/>
                <a:gd name="T8" fmla="*/ 302 w 543"/>
                <a:gd name="T9" fmla="*/ 322 h 416"/>
                <a:gd name="T10" fmla="*/ 339 w 543"/>
                <a:gd name="T11" fmla="*/ 372 h 416"/>
                <a:gd name="T12" fmla="*/ 491 w 543"/>
                <a:gd name="T13" fmla="*/ 352 h 416"/>
                <a:gd name="T14" fmla="*/ 469 w 543"/>
                <a:gd name="T15" fmla="*/ 188 h 416"/>
                <a:gd name="T16" fmla="*/ 477 w 543"/>
                <a:gd name="T17" fmla="*/ 186 h 416"/>
                <a:gd name="T18" fmla="*/ 538 w 543"/>
                <a:gd name="T19" fmla="*/ 99 h 416"/>
                <a:gd name="T20" fmla="*/ 456 w 543"/>
                <a:gd name="T21" fmla="*/ 29 h 416"/>
                <a:gd name="T22" fmla="*/ 448 w 543"/>
                <a:gd name="T23" fmla="*/ 30 h 416"/>
                <a:gd name="T24" fmla="*/ 445 w 543"/>
                <a:gd name="T25" fmla="*/ 3 h 416"/>
                <a:gd name="T26" fmla="*/ 411 w 543"/>
                <a:gd name="T27" fmla="*/ 0 h 416"/>
                <a:gd name="T28" fmla="*/ 310 w 543"/>
                <a:gd name="T29" fmla="*/ 35 h 416"/>
                <a:gd name="T30" fmla="*/ 300 w 543"/>
                <a:gd name="T31" fmla="*/ 35 h 416"/>
                <a:gd name="T32" fmla="*/ 177 w 543"/>
                <a:gd name="T33" fmla="*/ 91 h 416"/>
                <a:gd name="T34" fmla="*/ 69 w 543"/>
                <a:gd name="T35" fmla="*/ 217 h 416"/>
                <a:gd name="T36" fmla="*/ 27 w 543"/>
                <a:gd name="T37" fmla="*/ 278 h 416"/>
                <a:gd name="T38" fmla="*/ 28 w 543"/>
                <a:gd name="T39" fmla="*/ 287 h 416"/>
                <a:gd name="T40" fmla="*/ 0 w 543"/>
                <a:gd name="T41" fmla="*/ 377 h 416"/>
                <a:gd name="T42" fmla="*/ 5 w 543"/>
                <a:gd name="T43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43" h="416">
                  <a:moveTo>
                    <a:pt x="5" y="416"/>
                  </a:moveTo>
                  <a:cubicBezTo>
                    <a:pt x="151" y="397"/>
                    <a:pt x="151" y="397"/>
                    <a:pt x="151" y="397"/>
                  </a:cubicBezTo>
                  <a:cubicBezTo>
                    <a:pt x="151" y="376"/>
                    <a:pt x="159" y="355"/>
                    <a:pt x="173" y="339"/>
                  </a:cubicBezTo>
                  <a:cubicBezTo>
                    <a:pt x="189" y="320"/>
                    <a:pt x="210" y="308"/>
                    <a:pt x="234" y="305"/>
                  </a:cubicBezTo>
                  <a:cubicBezTo>
                    <a:pt x="258" y="302"/>
                    <a:pt x="282" y="308"/>
                    <a:pt x="302" y="322"/>
                  </a:cubicBezTo>
                  <a:cubicBezTo>
                    <a:pt x="320" y="334"/>
                    <a:pt x="333" y="352"/>
                    <a:pt x="339" y="372"/>
                  </a:cubicBezTo>
                  <a:cubicBezTo>
                    <a:pt x="491" y="352"/>
                    <a:pt x="491" y="352"/>
                    <a:pt x="491" y="352"/>
                  </a:cubicBezTo>
                  <a:cubicBezTo>
                    <a:pt x="469" y="188"/>
                    <a:pt x="469" y="188"/>
                    <a:pt x="469" y="188"/>
                  </a:cubicBezTo>
                  <a:cubicBezTo>
                    <a:pt x="477" y="186"/>
                    <a:pt x="477" y="186"/>
                    <a:pt x="477" y="186"/>
                  </a:cubicBezTo>
                  <a:cubicBezTo>
                    <a:pt x="517" y="177"/>
                    <a:pt x="543" y="140"/>
                    <a:pt x="538" y="99"/>
                  </a:cubicBezTo>
                  <a:cubicBezTo>
                    <a:pt x="533" y="57"/>
                    <a:pt x="497" y="28"/>
                    <a:pt x="456" y="29"/>
                  </a:cubicBezTo>
                  <a:cubicBezTo>
                    <a:pt x="448" y="30"/>
                    <a:pt x="448" y="30"/>
                    <a:pt x="448" y="30"/>
                  </a:cubicBezTo>
                  <a:cubicBezTo>
                    <a:pt x="445" y="3"/>
                    <a:pt x="445" y="3"/>
                    <a:pt x="445" y="3"/>
                  </a:cubicBezTo>
                  <a:cubicBezTo>
                    <a:pt x="434" y="1"/>
                    <a:pt x="423" y="0"/>
                    <a:pt x="411" y="0"/>
                  </a:cubicBezTo>
                  <a:cubicBezTo>
                    <a:pt x="373" y="0"/>
                    <a:pt x="338" y="13"/>
                    <a:pt x="310" y="35"/>
                  </a:cubicBezTo>
                  <a:cubicBezTo>
                    <a:pt x="306" y="35"/>
                    <a:pt x="303" y="35"/>
                    <a:pt x="300" y="35"/>
                  </a:cubicBezTo>
                  <a:cubicBezTo>
                    <a:pt x="251" y="35"/>
                    <a:pt x="206" y="57"/>
                    <a:pt x="177" y="91"/>
                  </a:cubicBezTo>
                  <a:cubicBezTo>
                    <a:pt x="116" y="102"/>
                    <a:pt x="71" y="154"/>
                    <a:pt x="69" y="217"/>
                  </a:cubicBezTo>
                  <a:cubicBezTo>
                    <a:pt x="45" y="227"/>
                    <a:pt x="27" y="250"/>
                    <a:pt x="27" y="278"/>
                  </a:cubicBezTo>
                  <a:cubicBezTo>
                    <a:pt x="27" y="281"/>
                    <a:pt x="28" y="284"/>
                    <a:pt x="28" y="287"/>
                  </a:cubicBezTo>
                  <a:cubicBezTo>
                    <a:pt x="10" y="313"/>
                    <a:pt x="0" y="344"/>
                    <a:pt x="0" y="377"/>
                  </a:cubicBezTo>
                  <a:cubicBezTo>
                    <a:pt x="0" y="390"/>
                    <a:pt x="2" y="403"/>
                    <a:pt x="5" y="41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id-ID" sz="1798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F2699FF-322D-4EEF-B6B3-5691EEB6282F}"/>
                </a:ext>
              </a:extLst>
            </p:cNvPr>
            <p:cNvSpPr/>
            <p:nvPr/>
          </p:nvSpPr>
          <p:spPr bwMode="auto">
            <a:xfrm rot="21053145" flipH="1">
              <a:off x="6022147" y="3159562"/>
              <a:ext cx="2359769" cy="1860589"/>
            </a:xfrm>
            <a:custGeom>
              <a:avLst/>
              <a:gdLst>
                <a:gd name="T0" fmla="*/ 524 w 527"/>
                <a:gd name="T1" fmla="*/ 386 h 416"/>
                <a:gd name="T2" fmla="*/ 466 w 527"/>
                <a:gd name="T3" fmla="*/ 363 h 416"/>
                <a:gd name="T4" fmla="*/ 433 w 527"/>
                <a:gd name="T5" fmla="*/ 302 h 416"/>
                <a:gd name="T6" fmla="*/ 450 w 527"/>
                <a:gd name="T7" fmla="*/ 234 h 416"/>
                <a:gd name="T8" fmla="*/ 500 w 527"/>
                <a:gd name="T9" fmla="*/ 198 h 416"/>
                <a:gd name="T10" fmla="*/ 481 w 527"/>
                <a:gd name="T11" fmla="*/ 53 h 416"/>
                <a:gd name="T12" fmla="*/ 316 w 527"/>
                <a:gd name="T13" fmla="*/ 75 h 416"/>
                <a:gd name="T14" fmla="*/ 314 w 527"/>
                <a:gd name="T15" fmla="*/ 67 h 416"/>
                <a:gd name="T16" fmla="*/ 226 w 527"/>
                <a:gd name="T17" fmla="*/ 6 h 416"/>
                <a:gd name="T18" fmla="*/ 157 w 527"/>
                <a:gd name="T19" fmla="*/ 88 h 416"/>
                <a:gd name="T20" fmla="*/ 158 w 527"/>
                <a:gd name="T21" fmla="*/ 95 h 416"/>
                <a:gd name="T22" fmla="*/ 0 w 527"/>
                <a:gd name="T23" fmla="*/ 116 h 416"/>
                <a:gd name="T24" fmla="*/ 62 w 527"/>
                <a:gd name="T25" fmla="*/ 193 h 416"/>
                <a:gd name="T26" fmla="*/ 180 w 527"/>
                <a:gd name="T27" fmla="*/ 278 h 416"/>
                <a:gd name="T28" fmla="*/ 239 w 527"/>
                <a:gd name="T29" fmla="*/ 263 h 416"/>
                <a:gd name="T30" fmla="*/ 315 w 527"/>
                <a:gd name="T31" fmla="*/ 309 h 416"/>
                <a:gd name="T32" fmla="*/ 469 w 527"/>
                <a:gd name="T33" fmla="*/ 416 h 416"/>
                <a:gd name="T34" fmla="*/ 527 w 527"/>
                <a:gd name="T35" fmla="*/ 405 h 416"/>
                <a:gd name="T36" fmla="*/ 524 w 527"/>
                <a:gd name="T37" fmla="*/ 38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7" h="416">
                  <a:moveTo>
                    <a:pt x="524" y="386"/>
                  </a:moveTo>
                  <a:cubicBezTo>
                    <a:pt x="503" y="385"/>
                    <a:pt x="483" y="377"/>
                    <a:pt x="466" y="363"/>
                  </a:cubicBezTo>
                  <a:cubicBezTo>
                    <a:pt x="448" y="348"/>
                    <a:pt x="436" y="326"/>
                    <a:pt x="433" y="302"/>
                  </a:cubicBezTo>
                  <a:cubicBezTo>
                    <a:pt x="430" y="278"/>
                    <a:pt x="436" y="254"/>
                    <a:pt x="450" y="234"/>
                  </a:cubicBezTo>
                  <a:cubicBezTo>
                    <a:pt x="462" y="217"/>
                    <a:pt x="479" y="204"/>
                    <a:pt x="500" y="198"/>
                  </a:cubicBezTo>
                  <a:cubicBezTo>
                    <a:pt x="481" y="53"/>
                    <a:pt x="481" y="53"/>
                    <a:pt x="481" y="53"/>
                  </a:cubicBezTo>
                  <a:cubicBezTo>
                    <a:pt x="316" y="75"/>
                    <a:pt x="316" y="75"/>
                    <a:pt x="316" y="75"/>
                  </a:cubicBezTo>
                  <a:cubicBezTo>
                    <a:pt x="314" y="67"/>
                    <a:pt x="314" y="67"/>
                    <a:pt x="314" y="67"/>
                  </a:cubicBezTo>
                  <a:cubicBezTo>
                    <a:pt x="305" y="27"/>
                    <a:pt x="268" y="0"/>
                    <a:pt x="226" y="6"/>
                  </a:cubicBezTo>
                  <a:cubicBezTo>
                    <a:pt x="185" y="11"/>
                    <a:pt x="156" y="46"/>
                    <a:pt x="157" y="88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2" y="148"/>
                    <a:pt x="34" y="175"/>
                    <a:pt x="62" y="193"/>
                  </a:cubicBezTo>
                  <a:cubicBezTo>
                    <a:pt x="79" y="242"/>
                    <a:pt x="125" y="278"/>
                    <a:pt x="180" y="278"/>
                  </a:cubicBezTo>
                  <a:cubicBezTo>
                    <a:pt x="202" y="278"/>
                    <a:pt x="222" y="272"/>
                    <a:pt x="239" y="263"/>
                  </a:cubicBezTo>
                  <a:cubicBezTo>
                    <a:pt x="258" y="286"/>
                    <a:pt x="284" y="303"/>
                    <a:pt x="315" y="309"/>
                  </a:cubicBezTo>
                  <a:cubicBezTo>
                    <a:pt x="338" y="372"/>
                    <a:pt x="398" y="416"/>
                    <a:pt x="469" y="416"/>
                  </a:cubicBezTo>
                  <a:cubicBezTo>
                    <a:pt x="489" y="416"/>
                    <a:pt x="509" y="412"/>
                    <a:pt x="527" y="405"/>
                  </a:cubicBezTo>
                  <a:lnTo>
                    <a:pt x="524" y="3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id-ID" sz="1798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81EE1A8-3EE8-4BCC-9AFE-8A535457974D}"/>
                </a:ext>
              </a:extLst>
            </p:cNvPr>
            <p:cNvSpPr/>
            <p:nvPr/>
          </p:nvSpPr>
          <p:spPr bwMode="auto">
            <a:xfrm rot="21053145" flipH="1">
              <a:off x="3909705" y="3410699"/>
              <a:ext cx="2537506" cy="2344642"/>
            </a:xfrm>
            <a:custGeom>
              <a:avLst/>
              <a:gdLst>
                <a:gd name="T0" fmla="*/ 567 w 567"/>
                <a:gd name="T1" fmla="*/ 124 h 524"/>
                <a:gd name="T2" fmla="*/ 533 w 567"/>
                <a:gd name="T3" fmla="*/ 34 h 524"/>
                <a:gd name="T4" fmla="*/ 534 w 567"/>
                <a:gd name="T5" fmla="*/ 13 h 524"/>
                <a:gd name="T6" fmla="*/ 534 w 567"/>
                <a:gd name="T7" fmla="*/ 0 h 524"/>
                <a:gd name="T8" fmla="*/ 393 w 567"/>
                <a:gd name="T9" fmla="*/ 19 h 524"/>
                <a:gd name="T10" fmla="*/ 370 w 567"/>
                <a:gd name="T11" fmla="*/ 77 h 524"/>
                <a:gd name="T12" fmla="*/ 309 w 567"/>
                <a:gd name="T13" fmla="*/ 110 h 524"/>
                <a:gd name="T14" fmla="*/ 297 w 567"/>
                <a:gd name="T15" fmla="*/ 111 h 524"/>
                <a:gd name="T16" fmla="*/ 241 w 567"/>
                <a:gd name="T17" fmla="*/ 94 h 524"/>
                <a:gd name="T18" fmla="*/ 205 w 567"/>
                <a:gd name="T19" fmla="*/ 43 h 524"/>
                <a:gd name="T20" fmla="*/ 53 w 567"/>
                <a:gd name="T21" fmla="*/ 63 h 524"/>
                <a:gd name="T22" fmla="*/ 74 w 567"/>
                <a:gd name="T23" fmla="*/ 227 h 524"/>
                <a:gd name="T24" fmla="*/ 67 w 567"/>
                <a:gd name="T25" fmla="*/ 229 h 524"/>
                <a:gd name="T26" fmla="*/ 5 w 567"/>
                <a:gd name="T27" fmla="*/ 317 h 524"/>
                <a:gd name="T28" fmla="*/ 87 w 567"/>
                <a:gd name="T29" fmla="*/ 386 h 524"/>
                <a:gd name="T30" fmla="*/ 95 w 567"/>
                <a:gd name="T31" fmla="*/ 386 h 524"/>
                <a:gd name="T32" fmla="*/ 102 w 567"/>
                <a:gd name="T33" fmla="*/ 438 h 524"/>
                <a:gd name="T34" fmla="*/ 266 w 567"/>
                <a:gd name="T35" fmla="*/ 524 h 524"/>
                <a:gd name="T36" fmla="*/ 452 w 567"/>
                <a:gd name="T37" fmla="*/ 396 h 524"/>
                <a:gd name="T38" fmla="*/ 556 w 567"/>
                <a:gd name="T39" fmla="*/ 220 h 524"/>
                <a:gd name="T40" fmla="*/ 553 w 567"/>
                <a:gd name="T41" fmla="*/ 184 h 524"/>
                <a:gd name="T42" fmla="*/ 567 w 567"/>
                <a:gd name="T43" fmla="*/ 12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7" h="524">
                  <a:moveTo>
                    <a:pt x="567" y="124"/>
                  </a:moveTo>
                  <a:cubicBezTo>
                    <a:pt x="567" y="89"/>
                    <a:pt x="554" y="58"/>
                    <a:pt x="533" y="34"/>
                  </a:cubicBezTo>
                  <a:cubicBezTo>
                    <a:pt x="534" y="27"/>
                    <a:pt x="534" y="20"/>
                    <a:pt x="534" y="13"/>
                  </a:cubicBezTo>
                  <a:cubicBezTo>
                    <a:pt x="534" y="8"/>
                    <a:pt x="534" y="4"/>
                    <a:pt x="534" y="0"/>
                  </a:cubicBezTo>
                  <a:cubicBezTo>
                    <a:pt x="393" y="19"/>
                    <a:pt x="393" y="19"/>
                    <a:pt x="393" y="19"/>
                  </a:cubicBezTo>
                  <a:cubicBezTo>
                    <a:pt x="392" y="40"/>
                    <a:pt x="384" y="60"/>
                    <a:pt x="370" y="77"/>
                  </a:cubicBezTo>
                  <a:cubicBezTo>
                    <a:pt x="355" y="95"/>
                    <a:pt x="333" y="107"/>
                    <a:pt x="309" y="110"/>
                  </a:cubicBezTo>
                  <a:cubicBezTo>
                    <a:pt x="305" y="111"/>
                    <a:pt x="301" y="111"/>
                    <a:pt x="297" y="111"/>
                  </a:cubicBezTo>
                  <a:cubicBezTo>
                    <a:pt x="277" y="111"/>
                    <a:pt x="258" y="105"/>
                    <a:pt x="241" y="94"/>
                  </a:cubicBezTo>
                  <a:cubicBezTo>
                    <a:pt x="224" y="81"/>
                    <a:pt x="211" y="64"/>
                    <a:pt x="205" y="43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74" y="227"/>
                    <a:pt x="74" y="227"/>
                    <a:pt x="74" y="227"/>
                  </a:cubicBezTo>
                  <a:cubicBezTo>
                    <a:pt x="67" y="229"/>
                    <a:pt x="67" y="229"/>
                    <a:pt x="67" y="229"/>
                  </a:cubicBezTo>
                  <a:cubicBezTo>
                    <a:pt x="26" y="238"/>
                    <a:pt x="0" y="276"/>
                    <a:pt x="5" y="317"/>
                  </a:cubicBezTo>
                  <a:cubicBezTo>
                    <a:pt x="11" y="358"/>
                    <a:pt x="46" y="388"/>
                    <a:pt x="87" y="386"/>
                  </a:cubicBezTo>
                  <a:cubicBezTo>
                    <a:pt x="95" y="386"/>
                    <a:pt x="95" y="386"/>
                    <a:pt x="95" y="386"/>
                  </a:cubicBezTo>
                  <a:cubicBezTo>
                    <a:pt x="102" y="438"/>
                    <a:pt x="102" y="438"/>
                    <a:pt x="102" y="438"/>
                  </a:cubicBezTo>
                  <a:cubicBezTo>
                    <a:pt x="138" y="490"/>
                    <a:pt x="198" y="524"/>
                    <a:pt x="266" y="524"/>
                  </a:cubicBezTo>
                  <a:cubicBezTo>
                    <a:pt x="351" y="524"/>
                    <a:pt x="423" y="470"/>
                    <a:pt x="452" y="396"/>
                  </a:cubicBezTo>
                  <a:cubicBezTo>
                    <a:pt x="514" y="362"/>
                    <a:pt x="556" y="296"/>
                    <a:pt x="556" y="220"/>
                  </a:cubicBezTo>
                  <a:cubicBezTo>
                    <a:pt x="556" y="208"/>
                    <a:pt x="555" y="196"/>
                    <a:pt x="553" y="184"/>
                  </a:cubicBezTo>
                  <a:cubicBezTo>
                    <a:pt x="562" y="166"/>
                    <a:pt x="567" y="146"/>
                    <a:pt x="567" y="12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id-ID" sz="1798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20863842-5B8B-4D41-B93B-060B2611DD26}"/>
                </a:ext>
              </a:extLst>
            </p:cNvPr>
            <p:cNvSpPr/>
            <p:nvPr/>
          </p:nvSpPr>
          <p:spPr bwMode="auto">
            <a:xfrm rot="21053145" flipH="1">
              <a:off x="3810085" y="2046560"/>
              <a:ext cx="2344641" cy="1817098"/>
            </a:xfrm>
            <a:custGeom>
              <a:avLst/>
              <a:gdLst>
                <a:gd name="T0" fmla="*/ 2 w 524"/>
                <a:gd name="T1" fmla="*/ 21 h 406"/>
                <a:gd name="T2" fmla="*/ 60 w 524"/>
                <a:gd name="T3" fmla="*/ 43 h 406"/>
                <a:gd name="T4" fmla="*/ 94 w 524"/>
                <a:gd name="T5" fmla="*/ 104 h 406"/>
                <a:gd name="T6" fmla="*/ 77 w 524"/>
                <a:gd name="T7" fmla="*/ 172 h 406"/>
                <a:gd name="T8" fmla="*/ 27 w 524"/>
                <a:gd name="T9" fmla="*/ 209 h 406"/>
                <a:gd name="T10" fmla="*/ 46 w 524"/>
                <a:gd name="T11" fmla="*/ 353 h 406"/>
                <a:gd name="T12" fmla="*/ 210 w 524"/>
                <a:gd name="T13" fmla="*/ 332 h 406"/>
                <a:gd name="T14" fmla="*/ 212 w 524"/>
                <a:gd name="T15" fmla="*/ 339 h 406"/>
                <a:gd name="T16" fmla="*/ 300 w 524"/>
                <a:gd name="T17" fmla="*/ 401 h 406"/>
                <a:gd name="T18" fmla="*/ 369 w 524"/>
                <a:gd name="T19" fmla="*/ 319 h 406"/>
                <a:gd name="T20" fmla="*/ 369 w 524"/>
                <a:gd name="T21" fmla="*/ 311 h 406"/>
                <a:gd name="T22" fmla="*/ 524 w 524"/>
                <a:gd name="T23" fmla="*/ 291 h 406"/>
                <a:gd name="T24" fmla="*/ 446 w 524"/>
                <a:gd name="T25" fmla="*/ 194 h 406"/>
                <a:gd name="T26" fmla="*/ 214 w 524"/>
                <a:gd name="T27" fmla="*/ 37 h 406"/>
                <a:gd name="T28" fmla="*/ 137 w 524"/>
                <a:gd name="T29" fmla="*/ 8 h 406"/>
                <a:gd name="T30" fmla="*/ 87 w 524"/>
                <a:gd name="T31" fmla="*/ 19 h 406"/>
                <a:gd name="T32" fmla="*/ 31 w 524"/>
                <a:gd name="T33" fmla="*/ 0 h 406"/>
                <a:gd name="T34" fmla="*/ 0 w 524"/>
                <a:gd name="T35" fmla="*/ 5 h 406"/>
                <a:gd name="T36" fmla="*/ 2 w 524"/>
                <a:gd name="T37" fmla="*/ 2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4" h="406">
                  <a:moveTo>
                    <a:pt x="2" y="21"/>
                  </a:moveTo>
                  <a:cubicBezTo>
                    <a:pt x="23" y="21"/>
                    <a:pt x="44" y="29"/>
                    <a:pt x="60" y="43"/>
                  </a:cubicBezTo>
                  <a:cubicBezTo>
                    <a:pt x="78" y="59"/>
                    <a:pt x="90" y="80"/>
                    <a:pt x="94" y="104"/>
                  </a:cubicBezTo>
                  <a:cubicBezTo>
                    <a:pt x="97" y="128"/>
                    <a:pt x="91" y="152"/>
                    <a:pt x="77" y="172"/>
                  </a:cubicBezTo>
                  <a:cubicBezTo>
                    <a:pt x="65" y="190"/>
                    <a:pt x="47" y="203"/>
                    <a:pt x="27" y="209"/>
                  </a:cubicBezTo>
                  <a:cubicBezTo>
                    <a:pt x="46" y="353"/>
                    <a:pt x="46" y="353"/>
                    <a:pt x="46" y="353"/>
                  </a:cubicBezTo>
                  <a:cubicBezTo>
                    <a:pt x="210" y="332"/>
                    <a:pt x="210" y="332"/>
                    <a:pt x="210" y="332"/>
                  </a:cubicBezTo>
                  <a:cubicBezTo>
                    <a:pt x="212" y="339"/>
                    <a:pt x="212" y="339"/>
                    <a:pt x="212" y="339"/>
                  </a:cubicBezTo>
                  <a:cubicBezTo>
                    <a:pt x="221" y="380"/>
                    <a:pt x="259" y="406"/>
                    <a:pt x="300" y="401"/>
                  </a:cubicBezTo>
                  <a:cubicBezTo>
                    <a:pt x="341" y="395"/>
                    <a:pt x="371" y="360"/>
                    <a:pt x="369" y="319"/>
                  </a:cubicBezTo>
                  <a:cubicBezTo>
                    <a:pt x="369" y="311"/>
                    <a:pt x="369" y="311"/>
                    <a:pt x="369" y="311"/>
                  </a:cubicBezTo>
                  <a:cubicBezTo>
                    <a:pt x="524" y="291"/>
                    <a:pt x="524" y="291"/>
                    <a:pt x="524" y="291"/>
                  </a:cubicBezTo>
                  <a:cubicBezTo>
                    <a:pt x="515" y="247"/>
                    <a:pt x="485" y="212"/>
                    <a:pt x="446" y="194"/>
                  </a:cubicBezTo>
                  <a:cubicBezTo>
                    <a:pt x="407" y="103"/>
                    <a:pt x="319" y="39"/>
                    <a:pt x="214" y="37"/>
                  </a:cubicBezTo>
                  <a:cubicBezTo>
                    <a:pt x="194" y="19"/>
                    <a:pt x="167" y="8"/>
                    <a:pt x="137" y="8"/>
                  </a:cubicBezTo>
                  <a:cubicBezTo>
                    <a:pt x="119" y="8"/>
                    <a:pt x="102" y="12"/>
                    <a:pt x="87" y="19"/>
                  </a:cubicBezTo>
                  <a:cubicBezTo>
                    <a:pt x="71" y="7"/>
                    <a:pt x="52" y="0"/>
                    <a:pt x="31" y="0"/>
                  </a:cubicBezTo>
                  <a:cubicBezTo>
                    <a:pt x="20" y="0"/>
                    <a:pt x="10" y="2"/>
                    <a:pt x="0" y="5"/>
                  </a:cubicBezTo>
                  <a:lnTo>
                    <a:pt x="2" y="2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id-ID" sz="1798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9FF277DD-578F-4E9A-825C-7E3F448AA1C6}"/>
                </a:ext>
              </a:extLst>
            </p:cNvPr>
            <p:cNvSpPr/>
            <p:nvPr/>
          </p:nvSpPr>
          <p:spPr bwMode="auto">
            <a:xfrm>
              <a:off x="4955388" y="2659706"/>
              <a:ext cx="436394" cy="564819"/>
            </a:xfrm>
            <a:custGeom>
              <a:avLst/>
              <a:gdLst>
                <a:gd name="T0" fmla="*/ 130 w 148"/>
                <a:gd name="T1" fmla="*/ 112 h 191"/>
                <a:gd name="T2" fmla="*/ 148 w 148"/>
                <a:gd name="T3" fmla="*/ 67 h 191"/>
                <a:gd name="T4" fmla="*/ 82 w 148"/>
                <a:gd name="T5" fmla="*/ 0 h 191"/>
                <a:gd name="T6" fmla="*/ 45 w 148"/>
                <a:gd name="T7" fmla="*/ 12 h 191"/>
                <a:gd name="T8" fmla="*/ 44 w 148"/>
                <a:gd name="T9" fmla="*/ 12 h 191"/>
                <a:gd name="T10" fmla="*/ 43 w 148"/>
                <a:gd name="T11" fmla="*/ 13 h 191"/>
                <a:gd name="T12" fmla="*/ 28 w 148"/>
                <a:gd name="T13" fmla="*/ 28 h 191"/>
                <a:gd name="T14" fmla="*/ 17 w 148"/>
                <a:gd name="T15" fmla="*/ 53 h 191"/>
                <a:gd name="T16" fmla="*/ 20 w 148"/>
                <a:gd name="T17" fmla="*/ 74 h 191"/>
                <a:gd name="T18" fmla="*/ 2 w 148"/>
                <a:gd name="T19" fmla="*/ 101 h 191"/>
                <a:gd name="T20" fmla="*/ 7 w 148"/>
                <a:gd name="T21" fmla="*/ 110 h 191"/>
                <a:gd name="T22" fmla="*/ 18 w 148"/>
                <a:gd name="T23" fmla="*/ 110 h 191"/>
                <a:gd name="T24" fmla="*/ 19 w 148"/>
                <a:gd name="T25" fmla="*/ 118 h 191"/>
                <a:gd name="T26" fmla="*/ 22 w 148"/>
                <a:gd name="T27" fmla="*/ 122 h 191"/>
                <a:gd name="T28" fmla="*/ 20 w 148"/>
                <a:gd name="T29" fmla="*/ 129 h 191"/>
                <a:gd name="T30" fmla="*/ 25 w 148"/>
                <a:gd name="T31" fmla="*/ 133 h 191"/>
                <a:gd name="T32" fmla="*/ 35 w 148"/>
                <a:gd name="T33" fmla="*/ 152 h 191"/>
                <a:gd name="T34" fmla="*/ 44 w 148"/>
                <a:gd name="T35" fmla="*/ 151 h 191"/>
                <a:gd name="T36" fmla="*/ 51 w 148"/>
                <a:gd name="T37" fmla="*/ 150 h 191"/>
                <a:gd name="T38" fmla="*/ 60 w 148"/>
                <a:gd name="T39" fmla="*/ 159 h 191"/>
                <a:gd name="T40" fmla="*/ 58 w 148"/>
                <a:gd name="T41" fmla="*/ 171 h 191"/>
                <a:gd name="T42" fmla="*/ 49 w 148"/>
                <a:gd name="T43" fmla="*/ 191 h 191"/>
                <a:gd name="T44" fmla="*/ 89 w 148"/>
                <a:gd name="T45" fmla="*/ 171 h 191"/>
                <a:gd name="T46" fmla="*/ 131 w 148"/>
                <a:gd name="T47" fmla="*/ 163 h 191"/>
                <a:gd name="T48" fmla="*/ 130 w 148"/>
                <a:gd name="T49" fmla="*/ 112 h 191"/>
                <a:gd name="T50" fmla="*/ 104 w 148"/>
                <a:gd name="T51" fmla="*/ 76 h 191"/>
                <a:gd name="T52" fmla="*/ 101 w 148"/>
                <a:gd name="T53" fmla="*/ 72 h 191"/>
                <a:gd name="T54" fmla="*/ 70 w 148"/>
                <a:gd name="T55" fmla="*/ 114 h 191"/>
                <a:gd name="T56" fmla="*/ 76 w 148"/>
                <a:gd name="T57" fmla="*/ 78 h 191"/>
                <a:gd name="T58" fmla="*/ 63 w 148"/>
                <a:gd name="T59" fmla="*/ 78 h 191"/>
                <a:gd name="T60" fmla="*/ 68 w 148"/>
                <a:gd name="T61" fmla="*/ 59 h 191"/>
                <a:gd name="T62" fmla="*/ 62 w 148"/>
                <a:gd name="T63" fmla="*/ 59 h 191"/>
                <a:gd name="T64" fmla="*/ 49 w 148"/>
                <a:gd name="T65" fmla="*/ 22 h 191"/>
                <a:gd name="T66" fmla="*/ 49 w 148"/>
                <a:gd name="T67" fmla="*/ 21 h 191"/>
                <a:gd name="T68" fmla="*/ 49 w 148"/>
                <a:gd name="T69" fmla="*/ 21 h 191"/>
                <a:gd name="T70" fmla="*/ 49 w 148"/>
                <a:gd name="T71" fmla="*/ 21 h 191"/>
                <a:gd name="T72" fmla="*/ 50 w 148"/>
                <a:gd name="T73" fmla="*/ 21 h 191"/>
                <a:gd name="T74" fmla="*/ 82 w 148"/>
                <a:gd name="T75" fmla="*/ 11 h 191"/>
                <a:gd name="T76" fmla="*/ 135 w 148"/>
                <a:gd name="T77" fmla="*/ 48 h 191"/>
                <a:gd name="T78" fmla="*/ 135 w 148"/>
                <a:gd name="T79" fmla="*/ 70 h 191"/>
                <a:gd name="T80" fmla="*/ 104 w 148"/>
                <a:gd name="T81" fmla="*/ 76 h 191"/>
                <a:gd name="T82" fmla="*/ 90 w 148"/>
                <a:gd name="T83" fmla="*/ 61 h 191"/>
                <a:gd name="T84" fmla="*/ 103 w 148"/>
                <a:gd name="T85" fmla="*/ 61 h 191"/>
                <a:gd name="T86" fmla="*/ 75 w 148"/>
                <a:gd name="T87" fmla="*/ 102 h 191"/>
                <a:gd name="T88" fmla="*/ 81 w 148"/>
                <a:gd name="T89" fmla="*/ 74 h 191"/>
                <a:gd name="T90" fmla="*/ 68 w 148"/>
                <a:gd name="T91" fmla="*/ 74 h 191"/>
                <a:gd name="T92" fmla="*/ 76 w 148"/>
                <a:gd name="T93" fmla="*/ 40 h 191"/>
                <a:gd name="T94" fmla="*/ 97 w 148"/>
                <a:gd name="T95" fmla="*/ 40 h 191"/>
                <a:gd name="T96" fmla="*/ 90 w 148"/>
                <a:gd name="T97" fmla="*/ 6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" h="191">
                  <a:moveTo>
                    <a:pt x="130" y="112"/>
                  </a:moveTo>
                  <a:cubicBezTo>
                    <a:pt x="142" y="92"/>
                    <a:pt x="148" y="84"/>
                    <a:pt x="148" y="67"/>
                  </a:cubicBezTo>
                  <a:cubicBezTo>
                    <a:pt x="148" y="30"/>
                    <a:pt x="118" y="0"/>
                    <a:pt x="82" y="0"/>
                  </a:cubicBezTo>
                  <a:cubicBezTo>
                    <a:pt x="68" y="0"/>
                    <a:pt x="55" y="5"/>
                    <a:pt x="45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3" y="13"/>
                  </a:cubicBezTo>
                  <a:cubicBezTo>
                    <a:pt x="37" y="17"/>
                    <a:pt x="32" y="22"/>
                    <a:pt x="28" y="28"/>
                  </a:cubicBezTo>
                  <a:cubicBezTo>
                    <a:pt x="23" y="35"/>
                    <a:pt x="19" y="44"/>
                    <a:pt x="17" y="53"/>
                  </a:cubicBezTo>
                  <a:cubicBezTo>
                    <a:pt x="14" y="68"/>
                    <a:pt x="20" y="68"/>
                    <a:pt x="20" y="74"/>
                  </a:cubicBezTo>
                  <a:cubicBezTo>
                    <a:pt x="20" y="79"/>
                    <a:pt x="11" y="89"/>
                    <a:pt x="2" y="101"/>
                  </a:cubicBezTo>
                  <a:cubicBezTo>
                    <a:pt x="0" y="104"/>
                    <a:pt x="1" y="110"/>
                    <a:pt x="7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25" y="110"/>
                    <a:pt x="20" y="117"/>
                    <a:pt x="19" y="118"/>
                  </a:cubicBezTo>
                  <a:cubicBezTo>
                    <a:pt x="19" y="119"/>
                    <a:pt x="22" y="122"/>
                    <a:pt x="22" y="122"/>
                  </a:cubicBezTo>
                  <a:cubicBezTo>
                    <a:pt x="22" y="122"/>
                    <a:pt x="18" y="126"/>
                    <a:pt x="20" y="129"/>
                  </a:cubicBezTo>
                  <a:cubicBezTo>
                    <a:pt x="20" y="130"/>
                    <a:pt x="26" y="129"/>
                    <a:pt x="25" y="133"/>
                  </a:cubicBezTo>
                  <a:cubicBezTo>
                    <a:pt x="21" y="150"/>
                    <a:pt x="30" y="152"/>
                    <a:pt x="35" y="152"/>
                  </a:cubicBezTo>
                  <a:cubicBezTo>
                    <a:pt x="38" y="152"/>
                    <a:pt x="41" y="152"/>
                    <a:pt x="44" y="151"/>
                  </a:cubicBezTo>
                  <a:cubicBezTo>
                    <a:pt x="46" y="150"/>
                    <a:pt x="49" y="150"/>
                    <a:pt x="51" y="150"/>
                  </a:cubicBezTo>
                  <a:cubicBezTo>
                    <a:pt x="57" y="150"/>
                    <a:pt x="61" y="153"/>
                    <a:pt x="60" y="159"/>
                  </a:cubicBezTo>
                  <a:cubicBezTo>
                    <a:pt x="58" y="164"/>
                    <a:pt x="58" y="167"/>
                    <a:pt x="58" y="171"/>
                  </a:cubicBezTo>
                  <a:cubicBezTo>
                    <a:pt x="57" y="175"/>
                    <a:pt x="49" y="191"/>
                    <a:pt x="49" y="191"/>
                  </a:cubicBezTo>
                  <a:cubicBezTo>
                    <a:pt x="49" y="191"/>
                    <a:pt x="62" y="182"/>
                    <a:pt x="89" y="171"/>
                  </a:cubicBezTo>
                  <a:cubicBezTo>
                    <a:pt x="115" y="159"/>
                    <a:pt x="131" y="163"/>
                    <a:pt x="131" y="163"/>
                  </a:cubicBezTo>
                  <a:cubicBezTo>
                    <a:pt x="131" y="163"/>
                    <a:pt x="118" y="132"/>
                    <a:pt x="130" y="112"/>
                  </a:cubicBezTo>
                  <a:close/>
                  <a:moveTo>
                    <a:pt x="104" y="76"/>
                  </a:moveTo>
                  <a:cubicBezTo>
                    <a:pt x="103" y="75"/>
                    <a:pt x="102" y="73"/>
                    <a:pt x="101" y="72"/>
                  </a:cubicBezTo>
                  <a:cubicBezTo>
                    <a:pt x="70" y="114"/>
                    <a:pt x="70" y="114"/>
                    <a:pt x="70" y="114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6" y="59"/>
                    <a:pt x="64" y="59"/>
                    <a:pt x="62" y="59"/>
                  </a:cubicBezTo>
                  <a:cubicBezTo>
                    <a:pt x="37" y="62"/>
                    <a:pt x="30" y="36"/>
                    <a:pt x="49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9" y="14"/>
                    <a:pt x="70" y="11"/>
                    <a:pt x="82" y="11"/>
                  </a:cubicBezTo>
                  <a:cubicBezTo>
                    <a:pt x="106" y="11"/>
                    <a:pt x="127" y="26"/>
                    <a:pt x="135" y="48"/>
                  </a:cubicBezTo>
                  <a:cubicBezTo>
                    <a:pt x="138" y="57"/>
                    <a:pt x="138" y="63"/>
                    <a:pt x="135" y="70"/>
                  </a:cubicBezTo>
                  <a:cubicBezTo>
                    <a:pt x="130" y="82"/>
                    <a:pt x="108" y="83"/>
                    <a:pt x="104" y="76"/>
                  </a:cubicBezTo>
                  <a:close/>
                  <a:moveTo>
                    <a:pt x="90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97" y="40"/>
                    <a:pt x="97" y="40"/>
                    <a:pt x="97" y="40"/>
                  </a:cubicBezTo>
                  <a:lnTo>
                    <a:pt x="90" y="6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88179CBA-C5E4-4ACC-9D3F-0316F7446AEA}"/>
                </a:ext>
              </a:extLst>
            </p:cNvPr>
            <p:cNvSpPr/>
            <p:nvPr/>
          </p:nvSpPr>
          <p:spPr bwMode="auto">
            <a:xfrm>
              <a:off x="4955388" y="4424881"/>
              <a:ext cx="436394" cy="564819"/>
            </a:xfrm>
            <a:custGeom>
              <a:avLst/>
              <a:gdLst>
                <a:gd name="T0" fmla="*/ 130 w 148"/>
                <a:gd name="T1" fmla="*/ 112 h 191"/>
                <a:gd name="T2" fmla="*/ 148 w 148"/>
                <a:gd name="T3" fmla="*/ 67 h 191"/>
                <a:gd name="T4" fmla="*/ 82 w 148"/>
                <a:gd name="T5" fmla="*/ 0 h 191"/>
                <a:gd name="T6" fmla="*/ 45 w 148"/>
                <a:gd name="T7" fmla="*/ 12 h 191"/>
                <a:gd name="T8" fmla="*/ 44 w 148"/>
                <a:gd name="T9" fmla="*/ 12 h 191"/>
                <a:gd name="T10" fmla="*/ 43 w 148"/>
                <a:gd name="T11" fmla="*/ 13 h 191"/>
                <a:gd name="T12" fmla="*/ 28 w 148"/>
                <a:gd name="T13" fmla="*/ 28 h 191"/>
                <a:gd name="T14" fmla="*/ 17 w 148"/>
                <a:gd name="T15" fmla="*/ 53 h 191"/>
                <a:gd name="T16" fmla="*/ 20 w 148"/>
                <a:gd name="T17" fmla="*/ 74 h 191"/>
                <a:gd name="T18" fmla="*/ 2 w 148"/>
                <a:gd name="T19" fmla="*/ 101 h 191"/>
                <a:gd name="T20" fmla="*/ 7 w 148"/>
                <a:gd name="T21" fmla="*/ 110 h 191"/>
                <a:gd name="T22" fmla="*/ 18 w 148"/>
                <a:gd name="T23" fmla="*/ 110 h 191"/>
                <a:gd name="T24" fmla="*/ 19 w 148"/>
                <a:gd name="T25" fmla="*/ 118 h 191"/>
                <a:gd name="T26" fmla="*/ 22 w 148"/>
                <a:gd name="T27" fmla="*/ 122 h 191"/>
                <a:gd name="T28" fmla="*/ 20 w 148"/>
                <a:gd name="T29" fmla="*/ 129 h 191"/>
                <a:gd name="T30" fmla="*/ 25 w 148"/>
                <a:gd name="T31" fmla="*/ 133 h 191"/>
                <a:gd name="T32" fmla="*/ 35 w 148"/>
                <a:gd name="T33" fmla="*/ 152 h 191"/>
                <a:gd name="T34" fmla="*/ 44 w 148"/>
                <a:gd name="T35" fmla="*/ 151 h 191"/>
                <a:gd name="T36" fmla="*/ 51 w 148"/>
                <a:gd name="T37" fmla="*/ 150 h 191"/>
                <a:gd name="T38" fmla="*/ 60 w 148"/>
                <a:gd name="T39" fmla="*/ 159 h 191"/>
                <a:gd name="T40" fmla="*/ 58 w 148"/>
                <a:gd name="T41" fmla="*/ 171 h 191"/>
                <a:gd name="T42" fmla="*/ 49 w 148"/>
                <a:gd name="T43" fmla="*/ 191 h 191"/>
                <a:gd name="T44" fmla="*/ 89 w 148"/>
                <a:gd name="T45" fmla="*/ 171 h 191"/>
                <a:gd name="T46" fmla="*/ 131 w 148"/>
                <a:gd name="T47" fmla="*/ 163 h 191"/>
                <a:gd name="T48" fmla="*/ 130 w 148"/>
                <a:gd name="T49" fmla="*/ 112 h 191"/>
                <a:gd name="T50" fmla="*/ 104 w 148"/>
                <a:gd name="T51" fmla="*/ 76 h 191"/>
                <a:gd name="T52" fmla="*/ 101 w 148"/>
                <a:gd name="T53" fmla="*/ 72 h 191"/>
                <a:gd name="T54" fmla="*/ 70 w 148"/>
                <a:gd name="T55" fmla="*/ 114 h 191"/>
                <a:gd name="T56" fmla="*/ 76 w 148"/>
                <a:gd name="T57" fmla="*/ 78 h 191"/>
                <a:gd name="T58" fmla="*/ 63 w 148"/>
                <a:gd name="T59" fmla="*/ 78 h 191"/>
                <a:gd name="T60" fmla="*/ 68 w 148"/>
                <a:gd name="T61" fmla="*/ 59 h 191"/>
                <a:gd name="T62" fmla="*/ 62 w 148"/>
                <a:gd name="T63" fmla="*/ 59 h 191"/>
                <a:gd name="T64" fmla="*/ 49 w 148"/>
                <a:gd name="T65" fmla="*/ 22 h 191"/>
                <a:gd name="T66" fmla="*/ 49 w 148"/>
                <a:gd name="T67" fmla="*/ 21 h 191"/>
                <a:gd name="T68" fmla="*/ 49 w 148"/>
                <a:gd name="T69" fmla="*/ 21 h 191"/>
                <a:gd name="T70" fmla="*/ 49 w 148"/>
                <a:gd name="T71" fmla="*/ 21 h 191"/>
                <a:gd name="T72" fmla="*/ 50 w 148"/>
                <a:gd name="T73" fmla="*/ 21 h 191"/>
                <a:gd name="T74" fmla="*/ 82 w 148"/>
                <a:gd name="T75" fmla="*/ 11 h 191"/>
                <a:gd name="T76" fmla="*/ 135 w 148"/>
                <a:gd name="T77" fmla="*/ 48 h 191"/>
                <a:gd name="T78" fmla="*/ 135 w 148"/>
                <a:gd name="T79" fmla="*/ 70 h 191"/>
                <a:gd name="T80" fmla="*/ 104 w 148"/>
                <a:gd name="T81" fmla="*/ 76 h 191"/>
                <a:gd name="T82" fmla="*/ 90 w 148"/>
                <a:gd name="T83" fmla="*/ 61 h 191"/>
                <a:gd name="T84" fmla="*/ 103 w 148"/>
                <a:gd name="T85" fmla="*/ 61 h 191"/>
                <a:gd name="T86" fmla="*/ 75 w 148"/>
                <a:gd name="T87" fmla="*/ 102 h 191"/>
                <a:gd name="T88" fmla="*/ 81 w 148"/>
                <a:gd name="T89" fmla="*/ 74 h 191"/>
                <a:gd name="T90" fmla="*/ 68 w 148"/>
                <a:gd name="T91" fmla="*/ 74 h 191"/>
                <a:gd name="T92" fmla="*/ 76 w 148"/>
                <a:gd name="T93" fmla="*/ 40 h 191"/>
                <a:gd name="T94" fmla="*/ 97 w 148"/>
                <a:gd name="T95" fmla="*/ 40 h 191"/>
                <a:gd name="T96" fmla="*/ 90 w 148"/>
                <a:gd name="T97" fmla="*/ 6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" h="191">
                  <a:moveTo>
                    <a:pt x="130" y="112"/>
                  </a:moveTo>
                  <a:cubicBezTo>
                    <a:pt x="142" y="92"/>
                    <a:pt x="148" y="84"/>
                    <a:pt x="148" y="67"/>
                  </a:cubicBezTo>
                  <a:cubicBezTo>
                    <a:pt x="148" y="30"/>
                    <a:pt x="118" y="0"/>
                    <a:pt x="82" y="0"/>
                  </a:cubicBezTo>
                  <a:cubicBezTo>
                    <a:pt x="68" y="0"/>
                    <a:pt x="55" y="5"/>
                    <a:pt x="45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3" y="13"/>
                  </a:cubicBezTo>
                  <a:cubicBezTo>
                    <a:pt x="37" y="17"/>
                    <a:pt x="32" y="22"/>
                    <a:pt x="28" y="28"/>
                  </a:cubicBezTo>
                  <a:cubicBezTo>
                    <a:pt x="23" y="35"/>
                    <a:pt x="19" y="44"/>
                    <a:pt x="17" y="53"/>
                  </a:cubicBezTo>
                  <a:cubicBezTo>
                    <a:pt x="14" y="68"/>
                    <a:pt x="20" y="68"/>
                    <a:pt x="20" y="74"/>
                  </a:cubicBezTo>
                  <a:cubicBezTo>
                    <a:pt x="20" y="79"/>
                    <a:pt x="11" y="89"/>
                    <a:pt x="2" y="101"/>
                  </a:cubicBezTo>
                  <a:cubicBezTo>
                    <a:pt x="0" y="104"/>
                    <a:pt x="1" y="110"/>
                    <a:pt x="7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25" y="110"/>
                    <a:pt x="20" y="117"/>
                    <a:pt x="19" y="118"/>
                  </a:cubicBezTo>
                  <a:cubicBezTo>
                    <a:pt x="19" y="119"/>
                    <a:pt x="22" y="122"/>
                    <a:pt x="22" y="122"/>
                  </a:cubicBezTo>
                  <a:cubicBezTo>
                    <a:pt x="22" y="122"/>
                    <a:pt x="18" y="126"/>
                    <a:pt x="20" y="129"/>
                  </a:cubicBezTo>
                  <a:cubicBezTo>
                    <a:pt x="20" y="130"/>
                    <a:pt x="26" y="129"/>
                    <a:pt x="25" y="133"/>
                  </a:cubicBezTo>
                  <a:cubicBezTo>
                    <a:pt x="21" y="150"/>
                    <a:pt x="30" y="152"/>
                    <a:pt x="35" y="152"/>
                  </a:cubicBezTo>
                  <a:cubicBezTo>
                    <a:pt x="38" y="152"/>
                    <a:pt x="41" y="152"/>
                    <a:pt x="44" y="151"/>
                  </a:cubicBezTo>
                  <a:cubicBezTo>
                    <a:pt x="46" y="150"/>
                    <a:pt x="49" y="150"/>
                    <a:pt x="51" y="150"/>
                  </a:cubicBezTo>
                  <a:cubicBezTo>
                    <a:pt x="57" y="150"/>
                    <a:pt x="61" y="153"/>
                    <a:pt x="60" y="159"/>
                  </a:cubicBezTo>
                  <a:cubicBezTo>
                    <a:pt x="58" y="164"/>
                    <a:pt x="58" y="167"/>
                    <a:pt x="58" y="171"/>
                  </a:cubicBezTo>
                  <a:cubicBezTo>
                    <a:pt x="57" y="175"/>
                    <a:pt x="49" y="191"/>
                    <a:pt x="49" y="191"/>
                  </a:cubicBezTo>
                  <a:cubicBezTo>
                    <a:pt x="49" y="191"/>
                    <a:pt x="62" y="182"/>
                    <a:pt x="89" y="171"/>
                  </a:cubicBezTo>
                  <a:cubicBezTo>
                    <a:pt x="115" y="159"/>
                    <a:pt x="131" y="163"/>
                    <a:pt x="131" y="163"/>
                  </a:cubicBezTo>
                  <a:cubicBezTo>
                    <a:pt x="131" y="163"/>
                    <a:pt x="118" y="132"/>
                    <a:pt x="130" y="112"/>
                  </a:cubicBezTo>
                  <a:close/>
                  <a:moveTo>
                    <a:pt x="104" y="76"/>
                  </a:moveTo>
                  <a:cubicBezTo>
                    <a:pt x="103" y="75"/>
                    <a:pt x="102" y="73"/>
                    <a:pt x="101" y="72"/>
                  </a:cubicBezTo>
                  <a:cubicBezTo>
                    <a:pt x="70" y="114"/>
                    <a:pt x="70" y="114"/>
                    <a:pt x="70" y="114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6" y="59"/>
                    <a:pt x="64" y="59"/>
                    <a:pt x="62" y="59"/>
                  </a:cubicBezTo>
                  <a:cubicBezTo>
                    <a:pt x="37" y="62"/>
                    <a:pt x="30" y="36"/>
                    <a:pt x="49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9" y="14"/>
                    <a:pt x="70" y="11"/>
                    <a:pt x="82" y="11"/>
                  </a:cubicBezTo>
                  <a:cubicBezTo>
                    <a:pt x="106" y="11"/>
                    <a:pt x="127" y="26"/>
                    <a:pt x="135" y="48"/>
                  </a:cubicBezTo>
                  <a:cubicBezTo>
                    <a:pt x="138" y="57"/>
                    <a:pt x="138" y="63"/>
                    <a:pt x="135" y="70"/>
                  </a:cubicBezTo>
                  <a:cubicBezTo>
                    <a:pt x="130" y="82"/>
                    <a:pt x="108" y="83"/>
                    <a:pt x="104" y="76"/>
                  </a:cubicBezTo>
                  <a:close/>
                  <a:moveTo>
                    <a:pt x="90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97" y="40"/>
                    <a:pt x="97" y="40"/>
                    <a:pt x="97" y="40"/>
                  </a:cubicBezTo>
                  <a:lnTo>
                    <a:pt x="90" y="6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742E18EA-3EA4-4A30-9956-B749495DA80A}"/>
                </a:ext>
              </a:extLst>
            </p:cNvPr>
            <p:cNvSpPr/>
            <p:nvPr/>
          </p:nvSpPr>
          <p:spPr bwMode="auto">
            <a:xfrm>
              <a:off x="6765254" y="3755477"/>
              <a:ext cx="436394" cy="564819"/>
            </a:xfrm>
            <a:custGeom>
              <a:avLst/>
              <a:gdLst>
                <a:gd name="T0" fmla="*/ 130 w 148"/>
                <a:gd name="T1" fmla="*/ 112 h 191"/>
                <a:gd name="T2" fmla="*/ 148 w 148"/>
                <a:gd name="T3" fmla="*/ 67 h 191"/>
                <a:gd name="T4" fmla="*/ 82 w 148"/>
                <a:gd name="T5" fmla="*/ 0 h 191"/>
                <a:gd name="T6" fmla="*/ 45 w 148"/>
                <a:gd name="T7" fmla="*/ 12 h 191"/>
                <a:gd name="T8" fmla="*/ 44 w 148"/>
                <a:gd name="T9" fmla="*/ 12 h 191"/>
                <a:gd name="T10" fmla="*/ 43 w 148"/>
                <a:gd name="T11" fmla="*/ 13 h 191"/>
                <a:gd name="T12" fmla="*/ 28 w 148"/>
                <a:gd name="T13" fmla="*/ 28 h 191"/>
                <a:gd name="T14" fmla="*/ 17 w 148"/>
                <a:gd name="T15" fmla="*/ 53 h 191"/>
                <a:gd name="T16" fmla="*/ 20 w 148"/>
                <a:gd name="T17" fmla="*/ 74 h 191"/>
                <a:gd name="T18" fmla="*/ 2 w 148"/>
                <a:gd name="T19" fmla="*/ 101 h 191"/>
                <a:gd name="T20" fmla="*/ 7 w 148"/>
                <a:gd name="T21" fmla="*/ 110 h 191"/>
                <a:gd name="T22" fmla="*/ 18 w 148"/>
                <a:gd name="T23" fmla="*/ 110 h 191"/>
                <a:gd name="T24" fmla="*/ 19 w 148"/>
                <a:gd name="T25" fmla="*/ 118 h 191"/>
                <a:gd name="T26" fmla="*/ 22 w 148"/>
                <a:gd name="T27" fmla="*/ 122 h 191"/>
                <a:gd name="T28" fmla="*/ 20 w 148"/>
                <a:gd name="T29" fmla="*/ 129 h 191"/>
                <a:gd name="T30" fmla="*/ 25 w 148"/>
                <a:gd name="T31" fmla="*/ 133 h 191"/>
                <a:gd name="T32" fmla="*/ 35 w 148"/>
                <a:gd name="T33" fmla="*/ 152 h 191"/>
                <a:gd name="T34" fmla="*/ 44 w 148"/>
                <a:gd name="T35" fmla="*/ 151 h 191"/>
                <a:gd name="T36" fmla="*/ 51 w 148"/>
                <a:gd name="T37" fmla="*/ 150 h 191"/>
                <a:gd name="T38" fmla="*/ 60 w 148"/>
                <a:gd name="T39" fmla="*/ 159 h 191"/>
                <a:gd name="T40" fmla="*/ 58 w 148"/>
                <a:gd name="T41" fmla="*/ 171 h 191"/>
                <a:gd name="T42" fmla="*/ 49 w 148"/>
                <a:gd name="T43" fmla="*/ 191 h 191"/>
                <a:gd name="T44" fmla="*/ 89 w 148"/>
                <a:gd name="T45" fmla="*/ 171 h 191"/>
                <a:gd name="T46" fmla="*/ 131 w 148"/>
                <a:gd name="T47" fmla="*/ 163 h 191"/>
                <a:gd name="T48" fmla="*/ 130 w 148"/>
                <a:gd name="T49" fmla="*/ 112 h 191"/>
                <a:gd name="T50" fmla="*/ 104 w 148"/>
                <a:gd name="T51" fmla="*/ 76 h 191"/>
                <a:gd name="T52" fmla="*/ 101 w 148"/>
                <a:gd name="T53" fmla="*/ 72 h 191"/>
                <a:gd name="T54" fmla="*/ 70 w 148"/>
                <a:gd name="T55" fmla="*/ 114 h 191"/>
                <a:gd name="T56" fmla="*/ 76 w 148"/>
                <a:gd name="T57" fmla="*/ 78 h 191"/>
                <a:gd name="T58" fmla="*/ 63 w 148"/>
                <a:gd name="T59" fmla="*/ 78 h 191"/>
                <a:gd name="T60" fmla="*/ 68 w 148"/>
                <a:gd name="T61" fmla="*/ 59 h 191"/>
                <a:gd name="T62" fmla="*/ 62 w 148"/>
                <a:gd name="T63" fmla="*/ 59 h 191"/>
                <a:gd name="T64" fmla="*/ 49 w 148"/>
                <a:gd name="T65" fmla="*/ 22 h 191"/>
                <a:gd name="T66" fmla="*/ 49 w 148"/>
                <a:gd name="T67" fmla="*/ 21 h 191"/>
                <a:gd name="T68" fmla="*/ 49 w 148"/>
                <a:gd name="T69" fmla="*/ 21 h 191"/>
                <a:gd name="T70" fmla="*/ 49 w 148"/>
                <a:gd name="T71" fmla="*/ 21 h 191"/>
                <a:gd name="T72" fmla="*/ 50 w 148"/>
                <a:gd name="T73" fmla="*/ 21 h 191"/>
                <a:gd name="T74" fmla="*/ 82 w 148"/>
                <a:gd name="T75" fmla="*/ 11 h 191"/>
                <a:gd name="T76" fmla="*/ 135 w 148"/>
                <a:gd name="T77" fmla="*/ 48 h 191"/>
                <a:gd name="T78" fmla="*/ 135 w 148"/>
                <a:gd name="T79" fmla="*/ 70 h 191"/>
                <a:gd name="T80" fmla="*/ 104 w 148"/>
                <a:gd name="T81" fmla="*/ 76 h 191"/>
                <a:gd name="T82" fmla="*/ 90 w 148"/>
                <a:gd name="T83" fmla="*/ 61 h 191"/>
                <a:gd name="T84" fmla="*/ 103 w 148"/>
                <a:gd name="T85" fmla="*/ 61 h 191"/>
                <a:gd name="T86" fmla="*/ 75 w 148"/>
                <a:gd name="T87" fmla="*/ 102 h 191"/>
                <a:gd name="T88" fmla="*/ 81 w 148"/>
                <a:gd name="T89" fmla="*/ 74 h 191"/>
                <a:gd name="T90" fmla="*/ 68 w 148"/>
                <a:gd name="T91" fmla="*/ 74 h 191"/>
                <a:gd name="T92" fmla="*/ 76 w 148"/>
                <a:gd name="T93" fmla="*/ 40 h 191"/>
                <a:gd name="T94" fmla="*/ 97 w 148"/>
                <a:gd name="T95" fmla="*/ 40 h 191"/>
                <a:gd name="T96" fmla="*/ 90 w 148"/>
                <a:gd name="T97" fmla="*/ 6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" h="191">
                  <a:moveTo>
                    <a:pt x="130" y="112"/>
                  </a:moveTo>
                  <a:cubicBezTo>
                    <a:pt x="142" y="92"/>
                    <a:pt x="148" y="84"/>
                    <a:pt x="148" y="67"/>
                  </a:cubicBezTo>
                  <a:cubicBezTo>
                    <a:pt x="148" y="30"/>
                    <a:pt x="118" y="0"/>
                    <a:pt x="82" y="0"/>
                  </a:cubicBezTo>
                  <a:cubicBezTo>
                    <a:pt x="68" y="0"/>
                    <a:pt x="55" y="5"/>
                    <a:pt x="45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3" y="13"/>
                  </a:cubicBezTo>
                  <a:cubicBezTo>
                    <a:pt x="37" y="17"/>
                    <a:pt x="32" y="22"/>
                    <a:pt x="28" y="28"/>
                  </a:cubicBezTo>
                  <a:cubicBezTo>
                    <a:pt x="23" y="35"/>
                    <a:pt x="19" y="44"/>
                    <a:pt x="17" y="53"/>
                  </a:cubicBezTo>
                  <a:cubicBezTo>
                    <a:pt x="14" y="68"/>
                    <a:pt x="20" y="68"/>
                    <a:pt x="20" y="74"/>
                  </a:cubicBezTo>
                  <a:cubicBezTo>
                    <a:pt x="20" y="79"/>
                    <a:pt x="11" y="89"/>
                    <a:pt x="2" y="101"/>
                  </a:cubicBezTo>
                  <a:cubicBezTo>
                    <a:pt x="0" y="104"/>
                    <a:pt x="1" y="110"/>
                    <a:pt x="7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25" y="110"/>
                    <a:pt x="20" y="117"/>
                    <a:pt x="19" y="118"/>
                  </a:cubicBezTo>
                  <a:cubicBezTo>
                    <a:pt x="19" y="119"/>
                    <a:pt x="22" y="122"/>
                    <a:pt x="22" y="122"/>
                  </a:cubicBezTo>
                  <a:cubicBezTo>
                    <a:pt x="22" y="122"/>
                    <a:pt x="18" y="126"/>
                    <a:pt x="20" y="129"/>
                  </a:cubicBezTo>
                  <a:cubicBezTo>
                    <a:pt x="20" y="130"/>
                    <a:pt x="26" y="129"/>
                    <a:pt x="25" y="133"/>
                  </a:cubicBezTo>
                  <a:cubicBezTo>
                    <a:pt x="21" y="150"/>
                    <a:pt x="30" y="152"/>
                    <a:pt x="35" y="152"/>
                  </a:cubicBezTo>
                  <a:cubicBezTo>
                    <a:pt x="38" y="152"/>
                    <a:pt x="41" y="152"/>
                    <a:pt x="44" y="151"/>
                  </a:cubicBezTo>
                  <a:cubicBezTo>
                    <a:pt x="46" y="150"/>
                    <a:pt x="49" y="150"/>
                    <a:pt x="51" y="150"/>
                  </a:cubicBezTo>
                  <a:cubicBezTo>
                    <a:pt x="57" y="150"/>
                    <a:pt x="61" y="153"/>
                    <a:pt x="60" y="159"/>
                  </a:cubicBezTo>
                  <a:cubicBezTo>
                    <a:pt x="58" y="164"/>
                    <a:pt x="58" y="167"/>
                    <a:pt x="58" y="171"/>
                  </a:cubicBezTo>
                  <a:cubicBezTo>
                    <a:pt x="57" y="175"/>
                    <a:pt x="49" y="191"/>
                    <a:pt x="49" y="191"/>
                  </a:cubicBezTo>
                  <a:cubicBezTo>
                    <a:pt x="49" y="191"/>
                    <a:pt x="62" y="182"/>
                    <a:pt x="89" y="171"/>
                  </a:cubicBezTo>
                  <a:cubicBezTo>
                    <a:pt x="115" y="159"/>
                    <a:pt x="131" y="163"/>
                    <a:pt x="131" y="163"/>
                  </a:cubicBezTo>
                  <a:cubicBezTo>
                    <a:pt x="131" y="163"/>
                    <a:pt x="118" y="132"/>
                    <a:pt x="130" y="112"/>
                  </a:cubicBezTo>
                  <a:close/>
                  <a:moveTo>
                    <a:pt x="104" y="76"/>
                  </a:moveTo>
                  <a:cubicBezTo>
                    <a:pt x="103" y="75"/>
                    <a:pt x="102" y="73"/>
                    <a:pt x="101" y="72"/>
                  </a:cubicBezTo>
                  <a:cubicBezTo>
                    <a:pt x="70" y="114"/>
                    <a:pt x="70" y="114"/>
                    <a:pt x="70" y="114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6" y="59"/>
                    <a:pt x="64" y="59"/>
                    <a:pt x="62" y="59"/>
                  </a:cubicBezTo>
                  <a:cubicBezTo>
                    <a:pt x="37" y="62"/>
                    <a:pt x="30" y="36"/>
                    <a:pt x="49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9" y="14"/>
                    <a:pt x="70" y="11"/>
                    <a:pt x="82" y="11"/>
                  </a:cubicBezTo>
                  <a:cubicBezTo>
                    <a:pt x="106" y="11"/>
                    <a:pt x="127" y="26"/>
                    <a:pt x="135" y="48"/>
                  </a:cubicBezTo>
                  <a:cubicBezTo>
                    <a:pt x="138" y="57"/>
                    <a:pt x="138" y="63"/>
                    <a:pt x="135" y="70"/>
                  </a:cubicBezTo>
                  <a:cubicBezTo>
                    <a:pt x="130" y="82"/>
                    <a:pt x="108" y="83"/>
                    <a:pt x="104" y="76"/>
                  </a:cubicBezTo>
                  <a:close/>
                  <a:moveTo>
                    <a:pt x="90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97" y="40"/>
                    <a:pt x="97" y="40"/>
                    <a:pt x="97" y="40"/>
                  </a:cubicBezTo>
                  <a:lnTo>
                    <a:pt x="90" y="6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0DFCEDB9-27AC-45C9-A605-03326E95E986}"/>
                </a:ext>
              </a:extLst>
            </p:cNvPr>
            <p:cNvSpPr/>
            <p:nvPr/>
          </p:nvSpPr>
          <p:spPr bwMode="auto">
            <a:xfrm>
              <a:off x="6531567" y="2318697"/>
              <a:ext cx="436394" cy="564819"/>
            </a:xfrm>
            <a:custGeom>
              <a:avLst/>
              <a:gdLst>
                <a:gd name="T0" fmla="*/ 130 w 148"/>
                <a:gd name="T1" fmla="*/ 112 h 191"/>
                <a:gd name="T2" fmla="*/ 148 w 148"/>
                <a:gd name="T3" fmla="*/ 67 h 191"/>
                <a:gd name="T4" fmla="*/ 82 w 148"/>
                <a:gd name="T5" fmla="*/ 0 h 191"/>
                <a:gd name="T6" fmla="*/ 45 w 148"/>
                <a:gd name="T7" fmla="*/ 12 h 191"/>
                <a:gd name="T8" fmla="*/ 44 w 148"/>
                <a:gd name="T9" fmla="*/ 12 h 191"/>
                <a:gd name="T10" fmla="*/ 43 w 148"/>
                <a:gd name="T11" fmla="*/ 13 h 191"/>
                <a:gd name="T12" fmla="*/ 28 w 148"/>
                <a:gd name="T13" fmla="*/ 28 h 191"/>
                <a:gd name="T14" fmla="*/ 17 w 148"/>
                <a:gd name="T15" fmla="*/ 53 h 191"/>
                <a:gd name="T16" fmla="*/ 20 w 148"/>
                <a:gd name="T17" fmla="*/ 74 h 191"/>
                <a:gd name="T18" fmla="*/ 2 w 148"/>
                <a:gd name="T19" fmla="*/ 101 h 191"/>
                <a:gd name="T20" fmla="*/ 7 w 148"/>
                <a:gd name="T21" fmla="*/ 110 h 191"/>
                <a:gd name="T22" fmla="*/ 18 w 148"/>
                <a:gd name="T23" fmla="*/ 110 h 191"/>
                <a:gd name="T24" fmla="*/ 19 w 148"/>
                <a:gd name="T25" fmla="*/ 118 h 191"/>
                <a:gd name="T26" fmla="*/ 22 w 148"/>
                <a:gd name="T27" fmla="*/ 122 h 191"/>
                <a:gd name="T28" fmla="*/ 20 w 148"/>
                <a:gd name="T29" fmla="*/ 129 h 191"/>
                <a:gd name="T30" fmla="*/ 25 w 148"/>
                <a:gd name="T31" fmla="*/ 133 h 191"/>
                <a:gd name="T32" fmla="*/ 35 w 148"/>
                <a:gd name="T33" fmla="*/ 152 h 191"/>
                <a:gd name="T34" fmla="*/ 44 w 148"/>
                <a:gd name="T35" fmla="*/ 151 h 191"/>
                <a:gd name="T36" fmla="*/ 51 w 148"/>
                <a:gd name="T37" fmla="*/ 150 h 191"/>
                <a:gd name="T38" fmla="*/ 60 w 148"/>
                <a:gd name="T39" fmla="*/ 159 h 191"/>
                <a:gd name="T40" fmla="*/ 58 w 148"/>
                <a:gd name="T41" fmla="*/ 171 h 191"/>
                <a:gd name="T42" fmla="*/ 49 w 148"/>
                <a:gd name="T43" fmla="*/ 191 h 191"/>
                <a:gd name="T44" fmla="*/ 89 w 148"/>
                <a:gd name="T45" fmla="*/ 171 h 191"/>
                <a:gd name="T46" fmla="*/ 131 w 148"/>
                <a:gd name="T47" fmla="*/ 163 h 191"/>
                <a:gd name="T48" fmla="*/ 130 w 148"/>
                <a:gd name="T49" fmla="*/ 112 h 191"/>
                <a:gd name="T50" fmla="*/ 104 w 148"/>
                <a:gd name="T51" fmla="*/ 76 h 191"/>
                <a:gd name="T52" fmla="*/ 101 w 148"/>
                <a:gd name="T53" fmla="*/ 72 h 191"/>
                <a:gd name="T54" fmla="*/ 70 w 148"/>
                <a:gd name="T55" fmla="*/ 114 h 191"/>
                <a:gd name="T56" fmla="*/ 76 w 148"/>
                <a:gd name="T57" fmla="*/ 78 h 191"/>
                <a:gd name="T58" fmla="*/ 63 w 148"/>
                <a:gd name="T59" fmla="*/ 78 h 191"/>
                <a:gd name="T60" fmla="*/ 68 w 148"/>
                <a:gd name="T61" fmla="*/ 59 h 191"/>
                <a:gd name="T62" fmla="*/ 62 w 148"/>
                <a:gd name="T63" fmla="*/ 59 h 191"/>
                <a:gd name="T64" fmla="*/ 49 w 148"/>
                <a:gd name="T65" fmla="*/ 22 h 191"/>
                <a:gd name="T66" fmla="*/ 49 w 148"/>
                <a:gd name="T67" fmla="*/ 21 h 191"/>
                <a:gd name="T68" fmla="*/ 49 w 148"/>
                <a:gd name="T69" fmla="*/ 21 h 191"/>
                <a:gd name="T70" fmla="*/ 49 w 148"/>
                <a:gd name="T71" fmla="*/ 21 h 191"/>
                <a:gd name="T72" fmla="*/ 50 w 148"/>
                <a:gd name="T73" fmla="*/ 21 h 191"/>
                <a:gd name="T74" fmla="*/ 82 w 148"/>
                <a:gd name="T75" fmla="*/ 11 h 191"/>
                <a:gd name="T76" fmla="*/ 135 w 148"/>
                <a:gd name="T77" fmla="*/ 48 h 191"/>
                <a:gd name="T78" fmla="*/ 135 w 148"/>
                <a:gd name="T79" fmla="*/ 70 h 191"/>
                <a:gd name="T80" fmla="*/ 104 w 148"/>
                <a:gd name="T81" fmla="*/ 76 h 191"/>
                <a:gd name="T82" fmla="*/ 90 w 148"/>
                <a:gd name="T83" fmla="*/ 61 h 191"/>
                <a:gd name="T84" fmla="*/ 103 w 148"/>
                <a:gd name="T85" fmla="*/ 61 h 191"/>
                <a:gd name="T86" fmla="*/ 75 w 148"/>
                <a:gd name="T87" fmla="*/ 102 h 191"/>
                <a:gd name="T88" fmla="*/ 81 w 148"/>
                <a:gd name="T89" fmla="*/ 74 h 191"/>
                <a:gd name="T90" fmla="*/ 68 w 148"/>
                <a:gd name="T91" fmla="*/ 74 h 191"/>
                <a:gd name="T92" fmla="*/ 76 w 148"/>
                <a:gd name="T93" fmla="*/ 40 h 191"/>
                <a:gd name="T94" fmla="*/ 97 w 148"/>
                <a:gd name="T95" fmla="*/ 40 h 191"/>
                <a:gd name="T96" fmla="*/ 90 w 148"/>
                <a:gd name="T97" fmla="*/ 6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" h="191">
                  <a:moveTo>
                    <a:pt x="130" y="112"/>
                  </a:moveTo>
                  <a:cubicBezTo>
                    <a:pt x="142" y="92"/>
                    <a:pt x="148" y="84"/>
                    <a:pt x="148" y="67"/>
                  </a:cubicBezTo>
                  <a:cubicBezTo>
                    <a:pt x="148" y="30"/>
                    <a:pt x="118" y="0"/>
                    <a:pt x="82" y="0"/>
                  </a:cubicBezTo>
                  <a:cubicBezTo>
                    <a:pt x="68" y="0"/>
                    <a:pt x="55" y="5"/>
                    <a:pt x="45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3" y="13"/>
                  </a:cubicBezTo>
                  <a:cubicBezTo>
                    <a:pt x="37" y="17"/>
                    <a:pt x="32" y="22"/>
                    <a:pt x="28" y="28"/>
                  </a:cubicBezTo>
                  <a:cubicBezTo>
                    <a:pt x="23" y="35"/>
                    <a:pt x="19" y="44"/>
                    <a:pt x="17" y="53"/>
                  </a:cubicBezTo>
                  <a:cubicBezTo>
                    <a:pt x="14" y="68"/>
                    <a:pt x="20" y="68"/>
                    <a:pt x="20" y="74"/>
                  </a:cubicBezTo>
                  <a:cubicBezTo>
                    <a:pt x="20" y="79"/>
                    <a:pt x="11" y="89"/>
                    <a:pt x="2" y="101"/>
                  </a:cubicBezTo>
                  <a:cubicBezTo>
                    <a:pt x="0" y="104"/>
                    <a:pt x="1" y="110"/>
                    <a:pt x="7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25" y="110"/>
                    <a:pt x="20" y="117"/>
                    <a:pt x="19" y="118"/>
                  </a:cubicBezTo>
                  <a:cubicBezTo>
                    <a:pt x="19" y="119"/>
                    <a:pt x="22" y="122"/>
                    <a:pt x="22" y="122"/>
                  </a:cubicBezTo>
                  <a:cubicBezTo>
                    <a:pt x="22" y="122"/>
                    <a:pt x="18" y="126"/>
                    <a:pt x="20" y="129"/>
                  </a:cubicBezTo>
                  <a:cubicBezTo>
                    <a:pt x="20" y="130"/>
                    <a:pt x="26" y="129"/>
                    <a:pt x="25" y="133"/>
                  </a:cubicBezTo>
                  <a:cubicBezTo>
                    <a:pt x="21" y="150"/>
                    <a:pt x="30" y="152"/>
                    <a:pt x="35" y="152"/>
                  </a:cubicBezTo>
                  <a:cubicBezTo>
                    <a:pt x="38" y="152"/>
                    <a:pt x="41" y="152"/>
                    <a:pt x="44" y="151"/>
                  </a:cubicBezTo>
                  <a:cubicBezTo>
                    <a:pt x="46" y="150"/>
                    <a:pt x="49" y="150"/>
                    <a:pt x="51" y="150"/>
                  </a:cubicBezTo>
                  <a:cubicBezTo>
                    <a:pt x="57" y="150"/>
                    <a:pt x="61" y="153"/>
                    <a:pt x="60" y="159"/>
                  </a:cubicBezTo>
                  <a:cubicBezTo>
                    <a:pt x="58" y="164"/>
                    <a:pt x="58" y="167"/>
                    <a:pt x="58" y="171"/>
                  </a:cubicBezTo>
                  <a:cubicBezTo>
                    <a:pt x="57" y="175"/>
                    <a:pt x="49" y="191"/>
                    <a:pt x="49" y="191"/>
                  </a:cubicBezTo>
                  <a:cubicBezTo>
                    <a:pt x="49" y="191"/>
                    <a:pt x="62" y="182"/>
                    <a:pt x="89" y="171"/>
                  </a:cubicBezTo>
                  <a:cubicBezTo>
                    <a:pt x="115" y="159"/>
                    <a:pt x="131" y="163"/>
                    <a:pt x="131" y="163"/>
                  </a:cubicBezTo>
                  <a:cubicBezTo>
                    <a:pt x="131" y="163"/>
                    <a:pt x="118" y="132"/>
                    <a:pt x="130" y="112"/>
                  </a:cubicBezTo>
                  <a:close/>
                  <a:moveTo>
                    <a:pt x="104" y="76"/>
                  </a:moveTo>
                  <a:cubicBezTo>
                    <a:pt x="103" y="75"/>
                    <a:pt x="102" y="73"/>
                    <a:pt x="101" y="72"/>
                  </a:cubicBezTo>
                  <a:cubicBezTo>
                    <a:pt x="70" y="114"/>
                    <a:pt x="70" y="114"/>
                    <a:pt x="70" y="114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6" y="59"/>
                    <a:pt x="64" y="59"/>
                    <a:pt x="62" y="59"/>
                  </a:cubicBezTo>
                  <a:cubicBezTo>
                    <a:pt x="37" y="62"/>
                    <a:pt x="30" y="36"/>
                    <a:pt x="49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9" y="14"/>
                    <a:pt x="70" y="11"/>
                    <a:pt x="82" y="11"/>
                  </a:cubicBezTo>
                  <a:cubicBezTo>
                    <a:pt x="106" y="11"/>
                    <a:pt x="127" y="26"/>
                    <a:pt x="135" y="48"/>
                  </a:cubicBezTo>
                  <a:cubicBezTo>
                    <a:pt x="138" y="57"/>
                    <a:pt x="138" y="63"/>
                    <a:pt x="135" y="70"/>
                  </a:cubicBezTo>
                  <a:cubicBezTo>
                    <a:pt x="130" y="82"/>
                    <a:pt x="108" y="83"/>
                    <a:pt x="104" y="76"/>
                  </a:cubicBezTo>
                  <a:close/>
                  <a:moveTo>
                    <a:pt x="90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75" y="102"/>
                    <a:pt x="75" y="102"/>
                    <a:pt x="75" y="102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97" y="40"/>
                    <a:pt x="97" y="40"/>
                    <a:pt x="97" y="40"/>
                  </a:cubicBezTo>
                  <a:lnTo>
                    <a:pt x="90" y="6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/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D5CFC6AF-A87E-4165-AD21-33E5BFE17307}"/>
                </a:ext>
              </a:extLst>
            </p:cNvPr>
            <p:cNvGrpSpPr/>
            <p:nvPr/>
          </p:nvGrpSpPr>
          <p:grpSpPr>
            <a:xfrm>
              <a:off x="8383173" y="1467032"/>
              <a:ext cx="3128863" cy="1225771"/>
              <a:chOff x="7462938" y="1282818"/>
              <a:chExt cx="3128863" cy="1225771"/>
            </a:xfrm>
          </p:grpSpPr>
          <p:sp>
            <p:nvSpPr>
              <p:cNvPr id="27" name="椭圆 26">
                <a:extLst>
                  <a:ext uri="{FF2B5EF4-FFF2-40B4-BE49-F238E27FC236}">
                    <a16:creationId xmlns:a16="http://schemas.microsoft.com/office/drawing/2014/main" id="{CEFF1BB2-F517-4788-9B9E-112528C05D00}"/>
                  </a:ext>
                </a:extLst>
              </p:cNvPr>
              <p:cNvSpPr/>
              <p:nvPr/>
            </p:nvSpPr>
            <p:spPr>
              <a:xfrm>
                <a:off x="7462938" y="1497294"/>
                <a:ext cx="801588" cy="80158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sz="1400" b="1">
                    <a:solidFill>
                      <a:schemeClr val="accent1"/>
                    </a:solidFill>
                  </a:rPr>
                  <a:t>7</a:t>
                </a:r>
                <a:r>
                  <a:rPr lang="en-US" sz="100" b="1">
                    <a:solidFill>
                      <a:schemeClr val="accent1"/>
                    </a:solidFill>
                  </a:rPr>
                  <a:t> </a:t>
                </a:r>
                <a:r>
                  <a:rPr lang="en-US" sz="1400" b="1">
                    <a:solidFill>
                      <a:schemeClr val="accent1"/>
                    </a:solidFill>
                  </a:rPr>
                  <a:t>0%</a:t>
                </a:r>
                <a:endParaRPr lang="en-US" sz="14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BD847B9A-6216-4796-805A-0D68C20E709D}"/>
                  </a:ext>
                </a:extLst>
              </p:cNvPr>
              <p:cNvSpPr txBox="1"/>
              <p:nvPr/>
            </p:nvSpPr>
            <p:spPr>
              <a:xfrm>
                <a:off x="8383781" y="1282818"/>
                <a:ext cx="2208020" cy="5270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总结</a:t>
                </a:r>
              </a:p>
            </p:txBody>
          </p:sp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C9A77529-7F84-41A8-9CB9-885A3301B92B}"/>
                  </a:ext>
                </a:extLst>
              </p:cNvPr>
              <p:cNvSpPr txBox="1"/>
              <p:nvPr/>
            </p:nvSpPr>
            <p:spPr>
              <a:xfrm>
                <a:off x="8383781" y="1809874"/>
                <a:ext cx="2208020" cy="69871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Supporting text here. </a:t>
                </a:r>
                <a:r>
                  <a:rPr lang="en-US" altLang="zh-CN" sz="100"/>
                  <a:t> 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 …</a:t>
                </a:r>
                <a:endParaRPr lang="en-US" altLang="zh-CN" sz="1100" dirty="0"/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A96C7890-AB49-49AD-9466-1F90DC8F509E}"/>
                </a:ext>
              </a:extLst>
            </p:cNvPr>
            <p:cNvGrpSpPr/>
            <p:nvPr/>
          </p:nvGrpSpPr>
          <p:grpSpPr>
            <a:xfrm>
              <a:off x="8383173" y="4094404"/>
              <a:ext cx="3128863" cy="1225771"/>
              <a:chOff x="7462938" y="1282818"/>
              <a:chExt cx="3128863" cy="1225771"/>
            </a:xfrm>
          </p:grpSpPr>
          <p:sp>
            <p:nvSpPr>
              <p:cNvPr id="24" name="椭圆 23">
                <a:extLst>
                  <a:ext uri="{FF2B5EF4-FFF2-40B4-BE49-F238E27FC236}">
                    <a16:creationId xmlns:a16="http://schemas.microsoft.com/office/drawing/2014/main" id="{600FC8BB-47CC-4837-94E1-2A25E8318371}"/>
                  </a:ext>
                </a:extLst>
              </p:cNvPr>
              <p:cNvSpPr/>
              <p:nvPr/>
            </p:nvSpPr>
            <p:spPr>
              <a:xfrm>
                <a:off x="7462938" y="1497294"/>
                <a:ext cx="801588" cy="80158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sz="1400" b="1">
                    <a:solidFill>
                      <a:schemeClr val="accent1"/>
                    </a:solidFill>
                  </a:rPr>
                  <a:t>7</a:t>
                </a:r>
                <a:r>
                  <a:rPr lang="en-US" sz="100" b="1">
                    <a:solidFill>
                      <a:schemeClr val="accent1"/>
                    </a:solidFill>
                  </a:rPr>
                  <a:t> </a:t>
                </a:r>
                <a:r>
                  <a:rPr lang="en-US" sz="1400" b="1">
                    <a:solidFill>
                      <a:schemeClr val="accent1"/>
                    </a:solidFill>
                  </a:rPr>
                  <a:t>0%</a:t>
                </a:r>
                <a:endParaRPr lang="en-US" sz="14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DF42FED7-9046-4C3B-BE48-1AFD47125170}"/>
                  </a:ext>
                </a:extLst>
              </p:cNvPr>
              <p:cNvSpPr txBox="1"/>
              <p:nvPr/>
            </p:nvSpPr>
            <p:spPr>
              <a:xfrm>
                <a:off x="8383781" y="1282818"/>
                <a:ext cx="2208020" cy="5270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总结</a:t>
                </a: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8E026C27-7F62-441D-AD53-0550E9DE6B8B}"/>
                  </a:ext>
                </a:extLst>
              </p:cNvPr>
              <p:cNvSpPr txBox="1"/>
              <p:nvPr/>
            </p:nvSpPr>
            <p:spPr>
              <a:xfrm>
                <a:off x="8383781" y="1809874"/>
                <a:ext cx="2208020" cy="69871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Supporting text here. </a:t>
                </a:r>
                <a:r>
                  <a:rPr lang="en-US" altLang="zh-CN" sz="100"/>
                  <a:t> 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 …</a:t>
                </a:r>
                <a:endParaRPr lang="en-US" altLang="zh-CN" sz="1100" dirty="0"/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56ECE9BC-54EB-4966-A871-332D11A18702}"/>
                </a:ext>
              </a:extLst>
            </p:cNvPr>
            <p:cNvGrpSpPr/>
            <p:nvPr/>
          </p:nvGrpSpPr>
          <p:grpSpPr>
            <a:xfrm>
              <a:off x="664841" y="4094404"/>
              <a:ext cx="3133891" cy="1225771"/>
              <a:chOff x="664841" y="4094404"/>
              <a:chExt cx="3133891" cy="1225771"/>
            </a:xfrm>
          </p:grpSpPr>
          <p:sp>
            <p:nvSpPr>
              <p:cNvPr id="21" name="椭圆 20">
                <a:extLst>
                  <a:ext uri="{FF2B5EF4-FFF2-40B4-BE49-F238E27FC236}">
                    <a16:creationId xmlns:a16="http://schemas.microsoft.com/office/drawing/2014/main" id="{0972E277-4637-4DE8-B544-12211AF1F3C8}"/>
                  </a:ext>
                </a:extLst>
              </p:cNvPr>
              <p:cNvSpPr/>
              <p:nvPr/>
            </p:nvSpPr>
            <p:spPr>
              <a:xfrm>
                <a:off x="2997144" y="4308880"/>
                <a:ext cx="801588" cy="80158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sz="1400" b="1">
                    <a:solidFill>
                      <a:schemeClr val="accent1"/>
                    </a:solidFill>
                  </a:rPr>
                  <a:t>7</a:t>
                </a:r>
                <a:r>
                  <a:rPr lang="en-US" sz="100" b="1">
                    <a:solidFill>
                      <a:schemeClr val="accent1"/>
                    </a:solidFill>
                  </a:rPr>
                  <a:t> </a:t>
                </a:r>
                <a:r>
                  <a:rPr lang="en-US" sz="1400" b="1">
                    <a:solidFill>
                      <a:schemeClr val="accent1"/>
                    </a:solidFill>
                  </a:rPr>
                  <a:t>0%</a:t>
                </a:r>
                <a:endParaRPr lang="en-US" sz="14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BB9C2937-054B-4076-9E13-A5675D7A1CFA}"/>
                  </a:ext>
                </a:extLst>
              </p:cNvPr>
              <p:cNvSpPr txBox="1"/>
              <p:nvPr/>
            </p:nvSpPr>
            <p:spPr>
              <a:xfrm>
                <a:off x="664841" y="4094404"/>
                <a:ext cx="2208020" cy="5270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 algn="r">
                  <a:lnSpc>
                    <a:spcPct val="150000"/>
                  </a:lnSpc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总结</a:t>
                </a: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00AF1241-C9C1-4B13-8DFD-5C8FA56889FB}"/>
                  </a:ext>
                </a:extLst>
              </p:cNvPr>
              <p:cNvSpPr txBox="1"/>
              <p:nvPr/>
            </p:nvSpPr>
            <p:spPr>
              <a:xfrm>
                <a:off x="664841" y="4621460"/>
                <a:ext cx="2208020" cy="69871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Supporting text here. </a:t>
                </a:r>
                <a:r>
                  <a:rPr lang="en-US" altLang="zh-CN" sz="100"/>
                  <a:t> 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 …</a:t>
                </a:r>
                <a:endParaRPr lang="en-US" altLang="zh-CN" sz="1100" dirty="0"/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D3250D4E-035D-4C16-8474-72FDD3B5D2C6}"/>
                </a:ext>
              </a:extLst>
            </p:cNvPr>
            <p:cNvGrpSpPr/>
            <p:nvPr/>
          </p:nvGrpSpPr>
          <p:grpSpPr>
            <a:xfrm>
              <a:off x="664841" y="1467032"/>
              <a:ext cx="3133891" cy="1225771"/>
              <a:chOff x="664841" y="4094404"/>
              <a:chExt cx="3133891" cy="1225771"/>
            </a:xfrm>
          </p:grpSpPr>
          <p:sp>
            <p:nvSpPr>
              <p:cNvPr id="18" name="椭圆 17">
                <a:extLst>
                  <a:ext uri="{FF2B5EF4-FFF2-40B4-BE49-F238E27FC236}">
                    <a16:creationId xmlns:a16="http://schemas.microsoft.com/office/drawing/2014/main" id="{CC202C43-86ED-4142-A31F-705ECACE6EC8}"/>
                  </a:ext>
                </a:extLst>
              </p:cNvPr>
              <p:cNvSpPr/>
              <p:nvPr/>
            </p:nvSpPr>
            <p:spPr>
              <a:xfrm>
                <a:off x="2997144" y="4308880"/>
                <a:ext cx="801588" cy="80158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r>
                  <a:rPr lang="en-US" sz="1400" b="1">
                    <a:solidFill>
                      <a:schemeClr val="accent1"/>
                    </a:solidFill>
                  </a:rPr>
                  <a:t>7</a:t>
                </a:r>
                <a:r>
                  <a:rPr lang="en-US" sz="100" b="1">
                    <a:solidFill>
                      <a:schemeClr val="accent1"/>
                    </a:solidFill>
                  </a:rPr>
                  <a:t> </a:t>
                </a:r>
                <a:r>
                  <a:rPr lang="en-US" sz="1400" b="1">
                    <a:solidFill>
                      <a:schemeClr val="accent1"/>
                    </a:solidFill>
                  </a:rPr>
                  <a:t>0%</a:t>
                </a:r>
                <a:endParaRPr lang="en-US" sz="14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D7EB7F1F-1E75-4303-8770-2059F0D74E1D}"/>
                  </a:ext>
                </a:extLst>
              </p:cNvPr>
              <p:cNvSpPr txBox="1"/>
              <p:nvPr/>
            </p:nvSpPr>
            <p:spPr>
              <a:xfrm>
                <a:off x="664841" y="4094404"/>
                <a:ext cx="2208020" cy="52705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b" anchorCtr="0">
                <a:normAutofit/>
              </a:bodyPr>
              <a:lstStyle/>
              <a:p>
                <a:pPr algn="r">
                  <a:lnSpc>
                    <a:spcPct val="150000"/>
                  </a:lnSpc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总结</a:t>
                </a: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5C57641F-4AC1-4B0C-8184-4064FED8E4B7}"/>
                  </a:ext>
                </a:extLst>
              </p:cNvPr>
              <p:cNvSpPr txBox="1"/>
              <p:nvPr/>
            </p:nvSpPr>
            <p:spPr>
              <a:xfrm>
                <a:off x="664841" y="4621460"/>
                <a:ext cx="2208020" cy="69871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 anchorCtr="0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Supporting text here. </a:t>
                </a:r>
                <a:r>
                  <a:rPr lang="en-US" altLang="zh-CN" sz="100"/>
                  <a:t> 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 …</a:t>
                </a:r>
                <a:endParaRPr lang="en-US" altLang="zh-CN" sz="11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241169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总结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grpSp>
        <p:nvGrpSpPr>
          <p:cNvPr id="49" name="组合 4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2171565" y="1131548"/>
            <a:ext cx="8064895" cy="4514990"/>
            <a:chOff x="2171565" y="1131548"/>
            <a:chExt cx="8064895" cy="4514990"/>
          </a:xfrm>
        </p:grpSpPr>
        <p:grpSp>
          <p:nvGrpSpPr>
            <p:cNvPr id="50" name="组合 49">
              <a:extLst>
                <a:ext uri="{FF2B5EF4-FFF2-40B4-BE49-F238E27FC236}">
                  <a16:creationId xmlns:a16="http://schemas.microsoft.com/office/drawing/2014/main" id="{C3F3E123-A296-440D-9738-48DB9C570F3D}"/>
                </a:ext>
              </a:extLst>
            </p:cNvPr>
            <p:cNvGrpSpPr/>
            <p:nvPr/>
          </p:nvGrpSpPr>
          <p:grpSpPr>
            <a:xfrm rot="2700000">
              <a:off x="5179936" y="2468410"/>
              <a:ext cx="1903305" cy="1888302"/>
              <a:chOff x="4567237" y="1765300"/>
              <a:chExt cx="3422651" cy="3395663"/>
            </a:xfrm>
          </p:grpSpPr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A5E4578C-C689-4A6D-B927-BE4A1AC76092}"/>
                  </a:ext>
                </a:extLst>
              </p:cNvPr>
              <p:cNvSpPr/>
              <p:nvPr/>
            </p:nvSpPr>
            <p:spPr>
              <a:xfrm flipV="1">
                <a:off x="4567237" y="1765300"/>
                <a:ext cx="1711326" cy="2068513"/>
              </a:xfrm>
              <a:custGeom>
                <a:avLst/>
                <a:gdLst>
                  <a:gd name="connsiteX0" fmla="*/ 0 w 1711326"/>
                  <a:gd name="connsiteY0" fmla="*/ 2068513 h 2068513"/>
                  <a:gd name="connsiteX1" fmla="*/ 1354138 w 1711326"/>
                  <a:gd name="connsiteY1" fmla="*/ 2068513 h 2068513"/>
                  <a:gd name="connsiteX2" fmla="*/ 1711326 w 1711326"/>
                  <a:gd name="connsiteY2" fmla="*/ 1711326 h 2068513"/>
                  <a:gd name="connsiteX3" fmla="*/ 0 w 1711326"/>
                  <a:gd name="connsiteY3" fmla="*/ 0 h 2068513"/>
                  <a:gd name="connsiteX4" fmla="*/ 0 w 1711326"/>
                  <a:gd name="connsiteY4" fmla="*/ 2068513 h 206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1326" h="2068513">
                    <a:moveTo>
                      <a:pt x="0" y="2068513"/>
                    </a:moveTo>
                    <a:lnTo>
                      <a:pt x="1354138" y="2068513"/>
                    </a:lnTo>
                    <a:lnTo>
                      <a:pt x="1711326" y="1711326"/>
                    </a:lnTo>
                    <a:lnTo>
                      <a:pt x="0" y="0"/>
                    </a:lnTo>
                    <a:lnTo>
                      <a:pt x="0" y="2068513"/>
                    </a:lnTo>
                    <a:close/>
                  </a:path>
                </a:pathLst>
              </a:custGeom>
              <a:solidFill>
                <a:schemeClr val="accent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755299F9-C7D9-49BD-93C1-7BC50C614503}"/>
                  </a:ext>
                </a:extLst>
              </p:cNvPr>
              <p:cNvSpPr/>
              <p:nvPr/>
            </p:nvSpPr>
            <p:spPr>
              <a:xfrm>
                <a:off x="4567237" y="3463131"/>
                <a:ext cx="2068513" cy="1697832"/>
              </a:xfrm>
              <a:custGeom>
                <a:avLst/>
                <a:gdLst>
                  <a:gd name="connsiteX0" fmla="*/ 370681 w 2068513"/>
                  <a:gd name="connsiteY0" fmla="*/ 0 h 1697832"/>
                  <a:gd name="connsiteX1" fmla="*/ 2068513 w 2068513"/>
                  <a:gd name="connsiteY1" fmla="*/ 1697832 h 1697832"/>
                  <a:gd name="connsiteX2" fmla="*/ 0 w 2068513"/>
                  <a:gd name="connsiteY2" fmla="*/ 1697832 h 1697832"/>
                  <a:gd name="connsiteX3" fmla="*/ 0 w 2068513"/>
                  <a:gd name="connsiteY3" fmla="*/ 370681 h 1697832"/>
                  <a:gd name="connsiteX4" fmla="*/ 370681 w 2068513"/>
                  <a:gd name="connsiteY4" fmla="*/ 0 h 1697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68513" h="1697832">
                    <a:moveTo>
                      <a:pt x="370681" y="0"/>
                    </a:moveTo>
                    <a:lnTo>
                      <a:pt x="2068513" y="1697832"/>
                    </a:lnTo>
                    <a:lnTo>
                      <a:pt x="0" y="1697832"/>
                    </a:lnTo>
                    <a:lnTo>
                      <a:pt x="0" y="370681"/>
                    </a:lnTo>
                    <a:lnTo>
                      <a:pt x="370681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A79589E2-EBD0-420A-BA29-BD17DA846FBA}"/>
                  </a:ext>
                </a:extLst>
              </p:cNvPr>
              <p:cNvSpPr/>
              <p:nvPr/>
            </p:nvSpPr>
            <p:spPr>
              <a:xfrm flipH="1">
                <a:off x="6278562" y="3092450"/>
                <a:ext cx="1711326" cy="2068513"/>
              </a:xfrm>
              <a:custGeom>
                <a:avLst/>
                <a:gdLst>
                  <a:gd name="connsiteX0" fmla="*/ 0 w 1711326"/>
                  <a:gd name="connsiteY0" fmla="*/ 0 h 2068513"/>
                  <a:gd name="connsiteX1" fmla="*/ 0 w 1711326"/>
                  <a:gd name="connsiteY1" fmla="*/ 2068513 h 2068513"/>
                  <a:gd name="connsiteX2" fmla="*/ 1354138 w 1711326"/>
                  <a:gd name="connsiteY2" fmla="*/ 2068513 h 2068513"/>
                  <a:gd name="connsiteX3" fmla="*/ 1711326 w 1711326"/>
                  <a:gd name="connsiteY3" fmla="*/ 1711326 h 2068513"/>
                  <a:gd name="connsiteX4" fmla="*/ 0 w 1711326"/>
                  <a:gd name="connsiteY4" fmla="*/ 0 h 206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1326" h="2068513">
                    <a:moveTo>
                      <a:pt x="0" y="0"/>
                    </a:moveTo>
                    <a:lnTo>
                      <a:pt x="0" y="2068513"/>
                    </a:lnTo>
                    <a:lnTo>
                      <a:pt x="1354138" y="2068513"/>
                    </a:lnTo>
                    <a:lnTo>
                      <a:pt x="1711326" y="171132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11C70285-0834-40A6-AD75-2F367C548D54}"/>
                  </a:ext>
                </a:extLst>
              </p:cNvPr>
              <p:cNvSpPr/>
              <p:nvPr/>
            </p:nvSpPr>
            <p:spPr>
              <a:xfrm flipH="1" flipV="1">
                <a:off x="5921374" y="1765300"/>
                <a:ext cx="2068513" cy="2068513"/>
              </a:xfrm>
              <a:custGeom>
                <a:avLst/>
                <a:gdLst>
                  <a:gd name="connsiteX0" fmla="*/ 2068513 w 2068513"/>
                  <a:gd name="connsiteY0" fmla="*/ 2068513 h 2068513"/>
                  <a:gd name="connsiteX1" fmla="*/ 0 w 2068513"/>
                  <a:gd name="connsiteY1" fmla="*/ 2068513 h 2068513"/>
                  <a:gd name="connsiteX2" fmla="*/ 0 w 2068513"/>
                  <a:gd name="connsiteY2" fmla="*/ 0 h 2068513"/>
                  <a:gd name="connsiteX3" fmla="*/ 1 w 2068513"/>
                  <a:gd name="connsiteY3" fmla="*/ 1 h 2068513"/>
                  <a:gd name="connsiteX4" fmla="*/ 1 w 2068513"/>
                  <a:gd name="connsiteY4" fmla="*/ 741363 h 2068513"/>
                  <a:gd name="connsiteX5" fmla="*/ 370682 w 2068513"/>
                  <a:gd name="connsiteY5" fmla="*/ 370682 h 2068513"/>
                  <a:gd name="connsiteX6" fmla="*/ 2068513 w 2068513"/>
                  <a:gd name="connsiteY6" fmla="*/ 2068513 h 206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68513" h="2068513">
                    <a:moveTo>
                      <a:pt x="2068513" y="2068513"/>
                    </a:moveTo>
                    <a:lnTo>
                      <a:pt x="0" y="2068513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1" y="741363"/>
                    </a:lnTo>
                    <a:lnTo>
                      <a:pt x="370682" y="370682"/>
                    </a:lnTo>
                    <a:lnTo>
                      <a:pt x="2068513" y="206851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51" name="组合 50">
              <a:extLst>
                <a:ext uri="{FF2B5EF4-FFF2-40B4-BE49-F238E27FC236}">
                  <a16:creationId xmlns:a16="http://schemas.microsoft.com/office/drawing/2014/main" id="{B65C25F4-5BE2-4E0E-9F9F-DFA56D247704}"/>
                </a:ext>
              </a:extLst>
            </p:cNvPr>
            <p:cNvGrpSpPr/>
            <p:nvPr/>
          </p:nvGrpSpPr>
          <p:grpSpPr>
            <a:xfrm>
              <a:off x="5021860" y="1131548"/>
              <a:ext cx="2221421" cy="874436"/>
              <a:chOff x="4605534" y="251399"/>
              <a:chExt cx="3053958" cy="1202154"/>
            </a:xfrm>
          </p:grpSpPr>
          <p:sp>
            <p:nvSpPr>
              <p:cNvPr id="65" name="文本框 64">
                <a:extLst>
                  <a:ext uri="{FF2B5EF4-FFF2-40B4-BE49-F238E27FC236}">
                    <a16:creationId xmlns:a16="http://schemas.microsoft.com/office/drawing/2014/main" id="{7C522E9D-3F9B-45BC-A753-DEAA7FFC6D49}"/>
                  </a:ext>
                </a:extLst>
              </p:cNvPr>
              <p:cNvSpPr txBox="1"/>
              <p:nvPr/>
            </p:nvSpPr>
            <p:spPr>
              <a:xfrm>
                <a:off x="4605537" y="826908"/>
                <a:ext cx="3053955" cy="62664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200" dirty="0"/>
                  <a:t>Copy paste fonts. Choose the only option toretain text.</a:t>
                </a:r>
              </a:p>
            </p:txBody>
          </p:sp>
          <p:sp>
            <p:nvSpPr>
              <p:cNvPr id="66" name="矩形 65">
                <a:extLst>
                  <a:ext uri="{FF2B5EF4-FFF2-40B4-BE49-F238E27FC236}">
                    <a16:creationId xmlns:a16="http://schemas.microsoft.com/office/drawing/2014/main" id="{A2C2FC48-7E65-458A-B4B2-0D92748B99D5}"/>
                  </a:ext>
                </a:extLst>
              </p:cNvPr>
              <p:cNvSpPr/>
              <p:nvPr/>
            </p:nvSpPr>
            <p:spPr>
              <a:xfrm>
                <a:off x="4605534" y="251399"/>
                <a:ext cx="3053957" cy="575508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总结</a:t>
                </a:r>
              </a:p>
            </p:txBody>
          </p:sp>
        </p:grpSp>
        <p:sp>
          <p:nvSpPr>
            <p:cNvPr id="52" name="文本框 51">
              <a:extLst>
                <a:ext uri="{FF2B5EF4-FFF2-40B4-BE49-F238E27FC236}">
                  <a16:creationId xmlns:a16="http://schemas.microsoft.com/office/drawing/2014/main" id="{4B51D964-DF47-478D-ACCD-70DB5CEE2F8A}"/>
                </a:ext>
              </a:extLst>
            </p:cNvPr>
            <p:cNvSpPr txBox="1"/>
            <p:nvPr/>
          </p:nvSpPr>
          <p:spPr>
            <a:xfrm>
              <a:off x="5021860" y="5190723"/>
              <a:ext cx="2221422" cy="45581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200" dirty="0"/>
                <a:t>Copy paste fonts. Choose the only </a:t>
              </a:r>
              <a:r>
                <a:rPr lang="en-US" altLang="zh-CN" sz="1200"/>
                <a:t>option to</a:t>
              </a:r>
              <a:r>
                <a:rPr lang="en-US" altLang="zh-CN" sz="1200" dirty="0"/>
                <a:t>retain text.</a:t>
              </a:r>
            </a:p>
          </p:txBody>
        </p:sp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ACB7B0A7-DD30-445C-BCC6-7675574BC81E}"/>
                </a:ext>
              </a:extLst>
            </p:cNvPr>
            <p:cNvSpPr/>
            <p:nvPr/>
          </p:nvSpPr>
          <p:spPr>
            <a:xfrm>
              <a:off x="5021859" y="4772103"/>
              <a:ext cx="2221422" cy="418620"/>
            </a:xfrm>
            <a:prstGeom prst="rect">
              <a:avLst/>
            </a:prstGeom>
          </p:spPr>
          <p:txBody>
            <a:bodyPr wrap="square" lIns="91440" tIns="45720" rIns="91440" bIns="45720" anchor="ctr" anchorCtr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914378">
                <a:defRPr/>
              </a:pPr>
              <a:r>
                <a:rPr lang="en-US" altLang="zh-CN" sz="1600" b="1" dirty="0"/>
                <a:t>…</a:t>
              </a:r>
              <a:r>
                <a:rPr lang="zh-CN" altLang="en-US" sz="1600" b="1" dirty="0"/>
                <a:t>总结</a:t>
              </a:r>
            </a:p>
          </p:txBody>
        </p:sp>
        <p:grpSp>
          <p:nvGrpSpPr>
            <p:cNvPr id="54" name="组合 53">
              <a:extLst>
                <a:ext uri="{FF2B5EF4-FFF2-40B4-BE49-F238E27FC236}">
                  <a16:creationId xmlns:a16="http://schemas.microsoft.com/office/drawing/2014/main" id="{DEBE1009-65B4-477B-9869-08660669EF01}"/>
                </a:ext>
              </a:extLst>
            </p:cNvPr>
            <p:cNvGrpSpPr/>
            <p:nvPr/>
          </p:nvGrpSpPr>
          <p:grpSpPr>
            <a:xfrm>
              <a:off x="7654512" y="3002279"/>
              <a:ext cx="2581948" cy="839120"/>
              <a:chOff x="9029820" y="2821495"/>
              <a:chExt cx="3549603" cy="1153603"/>
            </a:xfrm>
          </p:grpSpPr>
          <p:sp>
            <p:nvSpPr>
              <p:cNvPr id="63" name="文本框 62">
                <a:extLst>
                  <a:ext uri="{FF2B5EF4-FFF2-40B4-BE49-F238E27FC236}">
                    <a16:creationId xmlns:a16="http://schemas.microsoft.com/office/drawing/2014/main" id="{AC916309-8159-4784-90DE-3363B2F1349E}"/>
                  </a:ext>
                </a:extLst>
              </p:cNvPr>
              <p:cNvSpPr txBox="1"/>
              <p:nvPr/>
            </p:nvSpPr>
            <p:spPr>
              <a:xfrm>
                <a:off x="9029820" y="3385543"/>
                <a:ext cx="3549603" cy="58955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200" dirty="0"/>
                  <a:t>Copy paste fonts. Choose the only </a:t>
                </a:r>
                <a:r>
                  <a:rPr lang="en-US" altLang="zh-CN" sz="1200"/>
                  <a:t>option to</a:t>
                </a:r>
                <a:r>
                  <a:rPr lang="en-US" altLang="zh-CN" sz="1200" dirty="0"/>
                  <a:t>retain text.</a:t>
                </a:r>
              </a:p>
            </p:txBody>
          </p:sp>
          <p:sp>
            <p:nvSpPr>
              <p:cNvPr id="64" name="矩形 63">
                <a:extLst>
                  <a:ext uri="{FF2B5EF4-FFF2-40B4-BE49-F238E27FC236}">
                    <a16:creationId xmlns:a16="http://schemas.microsoft.com/office/drawing/2014/main" id="{71FFDCDF-5F0D-43BA-B4D5-1D16CF089543}"/>
                  </a:ext>
                </a:extLst>
              </p:cNvPr>
              <p:cNvSpPr/>
              <p:nvPr/>
            </p:nvSpPr>
            <p:spPr>
              <a:xfrm>
                <a:off x="9029821" y="2821495"/>
                <a:ext cx="3549602" cy="564047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defTabSz="914378">
                  <a:defRPr/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总结</a:t>
                </a:r>
              </a:p>
            </p:txBody>
          </p:sp>
        </p:grpSp>
        <p:grpSp>
          <p:nvGrpSpPr>
            <p:cNvPr id="55" name="组合 54">
              <a:extLst>
                <a:ext uri="{FF2B5EF4-FFF2-40B4-BE49-F238E27FC236}">
                  <a16:creationId xmlns:a16="http://schemas.microsoft.com/office/drawing/2014/main" id="{75AC931D-EB82-407C-8A3F-9AF26CE911D8}"/>
                </a:ext>
              </a:extLst>
            </p:cNvPr>
            <p:cNvGrpSpPr/>
            <p:nvPr/>
          </p:nvGrpSpPr>
          <p:grpSpPr>
            <a:xfrm>
              <a:off x="2171565" y="3002279"/>
              <a:ext cx="2403208" cy="839120"/>
              <a:chOff x="-286659" y="2821495"/>
              <a:chExt cx="3303875" cy="1153603"/>
            </a:xfrm>
          </p:grpSpPr>
          <p:sp>
            <p:nvSpPr>
              <p:cNvPr id="61" name="文本框 60">
                <a:extLst>
                  <a:ext uri="{FF2B5EF4-FFF2-40B4-BE49-F238E27FC236}">
                    <a16:creationId xmlns:a16="http://schemas.microsoft.com/office/drawing/2014/main" id="{EA7DE394-48DF-4139-B065-6FE2B39F0C21}"/>
                  </a:ext>
                </a:extLst>
              </p:cNvPr>
              <p:cNvSpPr txBox="1"/>
              <p:nvPr/>
            </p:nvSpPr>
            <p:spPr>
              <a:xfrm>
                <a:off x="-286659" y="3385543"/>
                <a:ext cx="3303875" cy="58955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200" dirty="0"/>
                  <a:t>Copy paste fonts. Choose the only </a:t>
                </a:r>
                <a:r>
                  <a:rPr lang="en-US" altLang="zh-CN" sz="1200"/>
                  <a:t>option to</a:t>
                </a:r>
                <a:r>
                  <a:rPr lang="en-US" altLang="zh-CN" sz="1200" dirty="0"/>
                  <a:t>retain text.</a:t>
                </a:r>
              </a:p>
            </p:txBody>
          </p:sp>
          <p:sp>
            <p:nvSpPr>
              <p:cNvPr id="62" name="矩形 61">
                <a:extLst>
                  <a:ext uri="{FF2B5EF4-FFF2-40B4-BE49-F238E27FC236}">
                    <a16:creationId xmlns:a16="http://schemas.microsoft.com/office/drawing/2014/main" id="{F8FA3052-62EE-444F-A603-4774C385CC36}"/>
                  </a:ext>
                </a:extLst>
              </p:cNvPr>
              <p:cNvSpPr/>
              <p:nvPr/>
            </p:nvSpPr>
            <p:spPr>
              <a:xfrm>
                <a:off x="-286659" y="2821495"/>
                <a:ext cx="3303874" cy="564047"/>
              </a:xfrm>
              <a:prstGeom prst="rect">
                <a:avLst/>
              </a:prstGeom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r" defTabSz="914378">
                  <a:defRPr/>
                </a:pPr>
                <a:r>
                  <a:rPr lang="en-US" altLang="zh-CN" sz="1400" b="1" dirty="0"/>
                  <a:t>…</a:t>
                </a:r>
                <a:r>
                  <a:rPr lang="zh-CN" altLang="en-US" sz="1400" b="1" dirty="0"/>
                  <a:t>总结</a:t>
                </a:r>
              </a:p>
            </p:txBody>
          </p:sp>
        </p:grpSp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AC183029-5120-4E1F-AA0D-68CCB5C64989}"/>
                </a:ext>
              </a:extLst>
            </p:cNvPr>
            <p:cNvSpPr/>
            <p:nvPr/>
          </p:nvSpPr>
          <p:spPr>
            <a:xfrm>
              <a:off x="5577593" y="3289728"/>
              <a:ext cx="1107996" cy="377742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b="1"/>
                <a:t>Text</a:t>
              </a:r>
              <a:endParaRPr lang="zh-CN" altLang="en-US" b="1" dirty="0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F91E15CE-AACE-4437-9856-4476CF307A73}"/>
                </a:ext>
              </a:extLst>
            </p:cNvPr>
            <p:cNvSpPr/>
            <p:nvPr/>
          </p:nvSpPr>
          <p:spPr bwMode="auto">
            <a:xfrm>
              <a:off x="5141254" y="3301675"/>
              <a:ext cx="261354" cy="191602"/>
            </a:xfrm>
            <a:custGeom>
              <a:avLst/>
              <a:gdLst>
                <a:gd name="connsiteX0" fmla="*/ 124336 w 608133"/>
                <a:gd name="connsiteY0" fmla="*/ 165476 h 445832"/>
                <a:gd name="connsiteX1" fmla="*/ 304070 w 608133"/>
                <a:gd name="connsiteY1" fmla="*/ 225979 h 445832"/>
                <a:gd name="connsiteX2" fmla="*/ 485772 w 608133"/>
                <a:gd name="connsiteY2" fmla="*/ 165476 h 445832"/>
                <a:gd name="connsiteX3" fmla="*/ 485772 w 608133"/>
                <a:gd name="connsiteY3" fmla="*/ 250808 h 445832"/>
                <a:gd name="connsiteX4" fmla="*/ 305015 w 608133"/>
                <a:gd name="connsiteY4" fmla="*/ 308089 h 445832"/>
                <a:gd name="connsiteX5" fmla="*/ 124336 w 608133"/>
                <a:gd name="connsiteY5" fmla="*/ 250101 h 445832"/>
                <a:gd name="connsiteX6" fmla="*/ 527801 w 608133"/>
                <a:gd name="connsiteY6" fmla="*/ 150728 h 445832"/>
                <a:gd name="connsiteX7" fmla="*/ 527801 w 608133"/>
                <a:gd name="connsiteY7" fmla="*/ 280008 h 445832"/>
                <a:gd name="connsiteX8" fmla="*/ 527801 w 608133"/>
                <a:gd name="connsiteY8" fmla="*/ 280244 h 445832"/>
                <a:gd name="connsiteX9" fmla="*/ 537709 w 608133"/>
                <a:gd name="connsiteY9" fmla="*/ 295962 h 445832"/>
                <a:gd name="connsiteX10" fmla="*/ 530239 w 608133"/>
                <a:gd name="connsiteY10" fmla="*/ 310265 h 445832"/>
                <a:gd name="connsiteX11" fmla="*/ 537709 w 608133"/>
                <a:gd name="connsiteY11" fmla="*/ 323311 h 445832"/>
                <a:gd name="connsiteX12" fmla="*/ 537709 w 608133"/>
                <a:gd name="connsiteY12" fmla="*/ 445832 h 445832"/>
                <a:gd name="connsiteX13" fmla="*/ 502717 w 608133"/>
                <a:gd name="connsiteY13" fmla="*/ 445832 h 445832"/>
                <a:gd name="connsiteX14" fmla="*/ 502717 w 608133"/>
                <a:gd name="connsiteY14" fmla="*/ 323311 h 445832"/>
                <a:gd name="connsiteX15" fmla="*/ 510108 w 608133"/>
                <a:gd name="connsiteY15" fmla="*/ 310265 h 445832"/>
                <a:gd name="connsiteX16" fmla="*/ 502638 w 608133"/>
                <a:gd name="connsiteY16" fmla="*/ 295962 h 445832"/>
                <a:gd name="connsiteX17" fmla="*/ 513018 w 608133"/>
                <a:gd name="connsiteY17" fmla="*/ 280008 h 445832"/>
                <a:gd name="connsiteX18" fmla="*/ 512546 w 608133"/>
                <a:gd name="connsiteY18" fmla="*/ 279379 h 445832"/>
                <a:gd name="connsiteX19" fmla="*/ 512546 w 608133"/>
                <a:gd name="connsiteY19" fmla="*/ 155522 h 445832"/>
                <a:gd name="connsiteX20" fmla="*/ 306663 w 608133"/>
                <a:gd name="connsiteY20" fmla="*/ 0 h 445832"/>
                <a:gd name="connsiteX21" fmla="*/ 608133 w 608133"/>
                <a:gd name="connsiteY21" fmla="*/ 115790 h 445832"/>
                <a:gd name="connsiteX22" fmla="*/ 306663 w 608133"/>
                <a:gd name="connsiteY22" fmla="*/ 215083 h 445832"/>
                <a:gd name="connsiteX23" fmla="*/ 0 w 608133"/>
                <a:gd name="connsiteY23" fmla="*/ 115790 h 44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08133" h="445832">
                  <a:moveTo>
                    <a:pt x="124336" y="165476"/>
                  </a:moveTo>
                  <a:lnTo>
                    <a:pt x="304070" y="225979"/>
                  </a:lnTo>
                  <a:lnTo>
                    <a:pt x="485772" y="165476"/>
                  </a:lnTo>
                  <a:lnTo>
                    <a:pt x="485772" y="250808"/>
                  </a:lnTo>
                  <a:cubicBezTo>
                    <a:pt x="485772" y="250808"/>
                    <a:pt x="404167" y="245701"/>
                    <a:pt x="305015" y="308089"/>
                  </a:cubicBezTo>
                  <a:cubicBezTo>
                    <a:pt x="305015" y="308089"/>
                    <a:pt x="219948" y="252066"/>
                    <a:pt x="124336" y="250101"/>
                  </a:cubicBezTo>
                  <a:close/>
                  <a:moveTo>
                    <a:pt x="527801" y="150728"/>
                  </a:moveTo>
                  <a:lnTo>
                    <a:pt x="527801" y="280008"/>
                  </a:lnTo>
                  <a:lnTo>
                    <a:pt x="527801" y="280244"/>
                  </a:lnTo>
                  <a:cubicBezTo>
                    <a:pt x="533620" y="283073"/>
                    <a:pt x="537709" y="289046"/>
                    <a:pt x="537709" y="295962"/>
                  </a:cubicBezTo>
                  <a:cubicBezTo>
                    <a:pt x="537709" y="301856"/>
                    <a:pt x="534721" y="307043"/>
                    <a:pt x="530239" y="310265"/>
                  </a:cubicBezTo>
                  <a:cubicBezTo>
                    <a:pt x="534721" y="312937"/>
                    <a:pt x="537709" y="317731"/>
                    <a:pt x="537709" y="323311"/>
                  </a:cubicBezTo>
                  <a:lnTo>
                    <a:pt x="537709" y="445832"/>
                  </a:lnTo>
                  <a:lnTo>
                    <a:pt x="502717" y="445832"/>
                  </a:lnTo>
                  <a:lnTo>
                    <a:pt x="502717" y="323311"/>
                  </a:lnTo>
                  <a:cubicBezTo>
                    <a:pt x="502717" y="317731"/>
                    <a:pt x="505705" y="312937"/>
                    <a:pt x="510108" y="310265"/>
                  </a:cubicBezTo>
                  <a:cubicBezTo>
                    <a:pt x="505626" y="307043"/>
                    <a:pt x="502638" y="301856"/>
                    <a:pt x="502638" y="295962"/>
                  </a:cubicBezTo>
                  <a:cubicBezTo>
                    <a:pt x="502638" y="288810"/>
                    <a:pt x="506884" y="282759"/>
                    <a:pt x="513018" y="280008"/>
                  </a:cubicBezTo>
                  <a:lnTo>
                    <a:pt x="512546" y="279379"/>
                  </a:lnTo>
                  <a:lnTo>
                    <a:pt x="512546" y="155522"/>
                  </a:lnTo>
                  <a:close/>
                  <a:moveTo>
                    <a:pt x="306663" y="0"/>
                  </a:moveTo>
                  <a:lnTo>
                    <a:pt x="608133" y="115790"/>
                  </a:lnTo>
                  <a:lnTo>
                    <a:pt x="306663" y="215083"/>
                  </a:lnTo>
                  <a:lnTo>
                    <a:pt x="0" y="1157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DB5328DD-0D69-452E-9280-A47934FB7F5B}"/>
                </a:ext>
              </a:extLst>
            </p:cNvPr>
            <p:cNvSpPr/>
            <p:nvPr/>
          </p:nvSpPr>
          <p:spPr bwMode="auto">
            <a:xfrm>
              <a:off x="5999099" y="2452687"/>
              <a:ext cx="264985" cy="194264"/>
            </a:xfrm>
            <a:custGeom>
              <a:avLst/>
              <a:gdLst>
                <a:gd name="connsiteX0" fmla="*/ 124336 w 608133"/>
                <a:gd name="connsiteY0" fmla="*/ 165476 h 445832"/>
                <a:gd name="connsiteX1" fmla="*/ 304070 w 608133"/>
                <a:gd name="connsiteY1" fmla="*/ 225979 h 445832"/>
                <a:gd name="connsiteX2" fmla="*/ 485772 w 608133"/>
                <a:gd name="connsiteY2" fmla="*/ 165476 h 445832"/>
                <a:gd name="connsiteX3" fmla="*/ 485772 w 608133"/>
                <a:gd name="connsiteY3" fmla="*/ 250808 h 445832"/>
                <a:gd name="connsiteX4" fmla="*/ 305015 w 608133"/>
                <a:gd name="connsiteY4" fmla="*/ 308089 h 445832"/>
                <a:gd name="connsiteX5" fmla="*/ 124336 w 608133"/>
                <a:gd name="connsiteY5" fmla="*/ 250101 h 445832"/>
                <a:gd name="connsiteX6" fmla="*/ 527801 w 608133"/>
                <a:gd name="connsiteY6" fmla="*/ 150728 h 445832"/>
                <a:gd name="connsiteX7" fmla="*/ 527801 w 608133"/>
                <a:gd name="connsiteY7" fmla="*/ 280008 h 445832"/>
                <a:gd name="connsiteX8" fmla="*/ 527801 w 608133"/>
                <a:gd name="connsiteY8" fmla="*/ 280244 h 445832"/>
                <a:gd name="connsiteX9" fmla="*/ 537709 w 608133"/>
                <a:gd name="connsiteY9" fmla="*/ 295962 h 445832"/>
                <a:gd name="connsiteX10" fmla="*/ 530239 w 608133"/>
                <a:gd name="connsiteY10" fmla="*/ 310265 h 445832"/>
                <a:gd name="connsiteX11" fmla="*/ 537709 w 608133"/>
                <a:gd name="connsiteY11" fmla="*/ 323311 h 445832"/>
                <a:gd name="connsiteX12" fmla="*/ 537709 w 608133"/>
                <a:gd name="connsiteY12" fmla="*/ 445832 h 445832"/>
                <a:gd name="connsiteX13" fmla="*/ 502717 w 608133"/>
                <a:gd name="connsiteY13" fmla="*/ 445832 h 445832"/>
                <a:gd name="connsiteX14" fmla="*/ 502717 w 608133"/>
                <a:gd name="connsiteY14" fmla="*/ 323311 h 445832"/>
                <a:gd name="connsiteX15" fmla="*/ 510108 w 608133"/>
                <a:gd name="connsiteY15" fmla="*/ 310265 h 445832"/>
                <a:gd name="connsiteX16" fmla="*/ 502638 w 608133"/>
                <a:gd name="connsiteY16" fmla="*/ 295962 h 445832"/>
                <a:gd name="connsiteX17" fmla="*/ 513018 w 608133"/>
                <a:gd name="connsiteY17" fmla="*/ 280008 h 445832"/>
                <a:gd name="connsiteX18" fmla="*/ 512546 w 608133"/>
                <a:gd name="connsiteY18" fmla="*/ 279379 h 445832"/>
                <a:gd name="connsiteX19" fmla="*/ 512546 w 608133"/>
                <a:gd name="connsiteY19" fmla="*/ 155522 h 445832"/>
                <a:gd name="connsiteX20" fmla="*/ 306663 w 608133"/>
                <a:gd name="connsiteY20" fmla="*/ 0 h 445832"/>
                <a:gd name="connsiteX21" fmla="*/ 608133 w 608133"/>
                <a:gd name="connsiteY21" fmla="*/ 115790 h 445832"/>
                <a:gd name="connsiteX22" fmla="*/ 306663 w 608133"/>
                <a:gd name="connsiteY22" fmla="*/ 215083 h 445832"/>
                <a:gd name="connsiteX23" fmla="*/ 0 w 608133"/>
                <a:gd name="connsiteY23" fmla="*/ 115790 h 44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08133" h="445832">
                  <a:moveTo>
                    <a:pt x="124336" y="165476"/>
                  </a:moveTo>
                  <a:lnTo>
                    <a:pt x="304070" y="225979"/>
                  </a:lnTo>
                  <a:lnTo>
                    <a:pt x="485772" y="165476"/>
                  </a:lnTo>
                  <a:lnTo>
                    <a:pt x="485772" y="250808"/>
                  </a:lnTo>
                  <a:cubicBezTo>
                    <a:pt x="485772" y="250808"/>
                    <a:pt x="404167" y="245701"/>
                    <a:pt x="305015" y="308089"/>
                  </a:cubicBezTo>
                  <a:cubicBezTo>
                    <a:pt x="305015" y="308089"/>
                    <a:pt x="219948" y="252066"/>
                    <a:pt x="124336" y="250101"/>
                  </a:cubicBezTo>
                  <a:close/>
                  <a:moveTo>
                    <a:pt x="527801" y="150728"/>
                  </a:moveTo>
                  <a:lnTo>
                    <a:pt x="527801" y="280008"/>
                  </a:lnTo>
                  <a:lnTo>
                    <a:pt x="527801" y="280244"/>
                  </a:lnTo>
                  <a:cubicBezTo>
                    <a:pt x="533620" y="283073"/>
                    <a:pt x="537709" y="289046"/>
                    <a:pt x="537709" y="295962"/>
                  </a:cubicBezTo>
                  <a:cubicBezTo>
                    <a:pt x="537709" y="301856"/>
                    <a:pt x="534721" y="307043"/>
                    <a:pt x="530239" y="310265"/>
                  </a:cubicBezTo>
                  <a:cubicBezTo>
                    <a:pt x="534721" y="312937"/>
                    <a:pt x="537709" y="317731"/>
                    <a:pt x="537709" y="323311"/>
                  </a:cubicBezTo>
                  <a:lnTo>
                    <a:pt x="537709" y="445832"/>
                  </a:lnTo>
                  <a:lnTo>
                    <a:pt x="502717" y="445832"/>
                  </a:lnTo>
                  <a:lnTo>
                    <a:pt x="502717" y="323311"/>
                  </a:lnTo>
                  <a:cubicBezTo>
                    <a:pt x="502717" y="317731"/>
                    <a:pt x="505705" y="312937"/>
                    <a:pt x="510108" y="310265"/>
                  </a:cubicBezTo>
                  <a:cubicBezTo>
                    <a:pt x="505626" y="307043"/>
                    <a:pt x="502638" y="301856"/>
                    <a:pt x="502638" y="295962"/>
                  </a:cubicBezTo>
                  <a:cubicBezTo>
                    <a:pt x="502638" y="288810"/>
                    <a:pt x="506884" y="282759"/>
                    <a:pt x="513018" y="280008"/>
                  </a:cubicBezTo>
                  <a:lnTo>
                    <a:pt x="512546" y="279379"/>
                  </a:lnTo>
                  <a:lnTo>
                    <a:pt x="512546" y="155522"/>
                  </a:lnTo>
                  <a:close/>
                  <a:moveTo>
                    <a:pt x="306663" y="0"/>
                  </a:moveTo>
                  <a:lnTo>
                    <a:pt x="608133" y="115790"/>
                  </a:lnTo>
                  <a:lnTo>
                    <a:pt x="306663" y="215083"/>
                  </a:lnTo>
                  <a:lnTo>
                    <a:pt x="0" y="1157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0E1886F4-0B99-4908-80FC-A7C749A4FB01}"/>
                </a:ext>
              </a:extLst>
            </p:cNvPr>
            <p:cNvSpPr/>
            <p:nvPr/>
          </p:nvSpPr>
          <p:spPr bwMode="auto">
            <a:xfrm>
              <a:off x="6034120" y="4172469"/>
              <a:ext cx="282500" cy="207105"/>
            </a:xfrm>
            <a:custGeom>
              <a:avLst/>
              <a:gdLst>
                <a:gd name="connsiteX0" fmla="*/ 124336 w 608133"/>
                <a:gd name="connsiteY0" fmla="*/ 165476 h 445832"/>
                <a:gd name="connsiteX1" fmla="*/ 304070 w 608133"/>
                <a:gd name="connsiteY1" fmla="*/ 225979 h 445832"/>
                <a:gd name="connsiteX2" fmla="*/ 485772 w 608133"/>
                <a:gd name="connsiteY2" fmla="*/ 165476 h 445832"/>
                <a:gd name="connsiteX3" fmla="*/ 485772 w 608133"/>
                <a:gd name="connsiteY3" fmla="*/ 250808 h 445832"/>
                <a:gd name="connsiteX4" fmla="*/ 305015 w 608133"/>
                <a:gd name="connsiteY4" fmla="*/ 308089 h 445832"/>
                <a:gd name="connsiteX5" fmla="*/ 124336 w 608133"/>
                <a:gd name="connsiteY5" fmla="*/ 250101 h 445832"/>
                <a:gd name="connsiteX6" fmla="*/ 527801 w 608133"/>
                <a:gd name="connsiteY6" fmla="*/ 150728 h 445832"/>
                <a:gd name="connsiteX7" fmla="*/ 527801 w 608133"/>
                <a:gd name="connsiteY7" fmla="*/ 280008 h 445832"/>
                <a:gd name="connsiteX8" fmla="*/ 527801 w 608133"/>
                <a:gd name="connsiteY8" fmla="*/ 280244 h 445832"/>
                <a:gd name="connsiteX9" fmla="*/ 537709 w 608133"/>
                <a:gd name="connsiteY9" fmla="*/ 295962 h 445832"/>
                <a:gd name="connsiteX10" fmla="*/ 530239 w 608133"/>
                <a:gd name="connsiteY10" fmla="*/ 310265 h 445832"/>
                <a:gd name="connsiteX11" fmla="*/ 537709 w 608133"/>
                <a:gd name="connsiteY11" fmla="*/ 323311 h 445832"/>
                <a:gd name="connsiteX12" fmla="*/ 537709 w 608133"/>
                <a:gd name="connsiteY12" fmla="*/ 445832 h 445832"/>
                <a:gd name="connsiteX13" fmla="*/ 502717 w 608133"/>
                <a:gd name="connsiteY13" fmla="*/ 445832 h 445832"/>
                <a:gd name="connsiteX14" fmla="*/ 502717 w 608133"/>
                <a:gd name="connsiteY14" fmla="*/ 323311 h 445832"/>
                <a:gd name="connsiteX15" fmla="*/ 510108 w 608133"/>
                <a:gd name="connsiteY15" fmla="*/ 310265 h 445832"/>
                <a:gd name="connsiteX16" fmla="*/ 502638 w 608133"/>
                <a:gd name="connsiteY16" fmla="*/ 295962 h 445832"/>
                <a:gd name="connsiteX17" fmla="*/ 513018 w 608133"/>
                <a:gd name="connsiteY17" fmla="*/ 280008 h 445832"/>
                <a:gd name="connsiteX18" fmla="*/ 512546 w 608133"/>
                <a:gd name="connsiteY18" fmla="*/ 279379 h 445832"/>
                <a:gd name="connsiteX19" fmla="*/ 512546 w 608133"/>
                <a:gd name="connsiteY19" fmla="*/ 155522 h 445832"/>
                <a:gd name="connsiteX20" fmla="*/ 306663 w 608133"/>
                <a:gd name="connsiteY20" fmla="*/ 0 h 445832"/>
                <a:gd name="connsiteX21" fmla="*/ 608133 w 608133"/>
                <a:gd name="connsiteY21" fmla="*/ 115790 h 445832"/>
                <a:gd name="connsiteX22" fmla="*/ 306663 w 608133"/>
                <a:gd name="connsiteY22" fmla="*/ 215083 h 445832"/>
                <a:gd name="connsiteX23" fmla="*/ 0 w 608133"/>
                <a:gd name="connsiteY23" fmla="*/ 115790 h 44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08133" h="445832">
                  <a:moveTo>
                    <a:pt x="124336" y="165476"/>
                  </a:moveTo>
                  <a:lnTo>
                    <a:pt x="304070" y="225979"/>
                  </a:lnTo>
                  <a:lnTo>
                    <a:pt x="485772" y="165476"/>
                  </a:lnTo>
                  <a:lnTo>
                    <a:pt x="485772" y="250808"/>
                  </a:lnTo>
                  <a:cubicBezTo>
                    <a:pt x="485772" y="250808"/>
                    <a:pt x="404167" y="245701"/>
                    <a:pt x="305015" y="308089"/>
                  </a:cubicBezTo>
                  <a:cubicBezTo>
                    <a:pt x="305015" y="308089"/>
                    <a:pt x="219948" y="252066"/>
                    <a:pt x="124336" y="250101"/>
                  </a:cubicBezTo>
                  <a:close/>
                  <a:moveTo>
                    <a:pt x="527801" y="150728"/>
                  </a:moveTo>
                  <a:lnTo>
                    <a:pt x="527801" y="280008"/>
                  </a:lnTo>
                  <a:lnTo>
                    <a:pt x="527801" y="280244"/>
                  </a:lnTo>
                  <a:cubicBezTo>
                    <a:pt x="533620" y="283073"/>
                    <a:pt x="537709" y="289046"/>
                    <a:pt x="537709" y="295962"/>
                  </a:cubicBezTo>
                  <a:cubicBezTo>
                    <a:pt x="537709" y="301856"/>
                    <a:pt x="534721" y="307043"/>
                    <a:pt x="530239" y="310265"/>
                  </a:cubicBezTo>
                  <a:cubicBezTo>
                    <a:pt x="534721" y="312937"/>
                    <a:pt x="537709" y="317731"/>
                    <a:pt x="537709" y="323311"/>
                  </a:cubicBezTo>
                  <a:lnTo>
                    <a:pt x="537709" y="445832"/>
                  </a:lnTo>
                  <a:lnTo>
                    <a:pt x="502717" y="445832"/>
                  </a:lnTo>
                  <a:lnTo>
                    <a:pt x="502717" y="323311"/>
                  </a:lnTo>
                  <a:cubicBezTo>
                    <a:pt x="502717" y="317731"/>
                    <a:pt x="505705" y="312937"/>
                    <a:pt x="510108" y="310265"/>
                  </a:cubicBezTo>
                  <a:cubicBezTo>
                    <a:pt x="505626" y="307043"/>
                    <a:pt x="502638" y="301856"/>
                    <a:pt x="502638" y="295962"/>
                  </a:cubicBezTo>
                  <a:cubicBezTo>
                    <a:pt x="502638" y="288810"/>
                    <a:pt x="506884" y="282759"/>
                    <a:pt x="513018" y="280008"/>
                  </a:cubicBezTo>
                  <a:lnTo>
                    <a:pt x="512546" y="279379"/>
                  </a:lnTo>
                  <a:lnTo>
                    <a:pt x="512546" y="155522"/>
                  </a:lnTo>
                  <a:close/>
                  <a:moveTo>
                    <a:pt x="306663" y="0"/>
                  </a:moveTo>
                  <a:lnTo>
                    <a:pt x="608133" y="115790"/>
                  </a:lnTo>
                  <a:lnTo>
                    <a:pt x="306663" y="215083"/>
                  </a:lnTo>
                  <a:lnTo>
                    <a:pt x="0" y="1157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ctr">
              <a:normAutofit fontScale="4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5C755E8-54D0-4E3F-B038-662FD79EA1B8}"/>
                </a:ext>
              </a:extLst>
            </p:cNvPr>
            <p:cNvSpPr/>
            <p:nvPr/>
          </p:nvSpPr>
          <p:spPr bwMode="auto">
            <a:xfrm>
              <a:off x="6867590" y="3278757"/>
              <a:ext cx="238307" cy="174706"/>
            </a:xfrm>
            <a:custGeom>
              <a:avLst/>
              <a:gdLst>
                <a:gd name="connsiteX0" fmla="*/ 124336 w 608133"/>
                <a:gd name="connsiteY0" fmla="*/ 165476 h 445832"/>
                <a:gd name="connsiteX1" fmla="*/ 304070 w 608133"/>
                <a:gd name="connsiteY1" fmla="*/ 225979 h 445832"/>
                <a:gd name="connsiteX2" fmla="*/ 485772 w 608133"/>
                <a:gd name="connsiteY2" fmla="*/ 165476 h 445832"/>
                <a:gd name="connsiteX3" fmla="*/ 485772 w 608133"/>
                <a:gd name="connsiteY3" fmla="*/ 250808 h 445832"/>
                <a:gd name="connsiteX4" fmla="*/ 305015 w 608133"/>
                <a:gd name="connsiteY4" fmla="*/ 308089 h 445832"/>
                <a:gd name="connsiteX5" fmla="*/ 124336 w 608133"/>
                <a:gd name="connsiteY5" fmla="*/ 250101 h 445832"/>
                <a:gd name="connsiteX6" fmla="*/ 527801 w 608133"/>
                <a:gd name="connsiteY6" fmla="*/ 150728 h 445832"/>
                <a:gd name="connsiteX7" fmla="*/ 527801 w 608133"/>
                <a:gd name="connsiteY7" fmla="*/ 280008 h 445832"/>
                <a:gd name="connsiteX8" fmla="*/ 527801 w 608133"/>
                <a:gd name="connsiteY8" fmla="*/ 280244 h 445832"/>
                <a:gd name="connsiteX9" fmla="*/ 537709 w 608133"/>
                <a:gd name="connsiteY9" fmla="*/ 295962 h 445832"/>
                <a:gd name="connsiteX10" fmla="*/ 530239 w 608133"/>
                <a:gd name="connsiteY10" fmla="*/ 310265 h 445832"/>
                <a:gd name="connsiteX11" fmla="*/ 537709 w 608133"/>
                <a:gd name="connsiteY11" fmla="*/ 323311 h 445832"/>
                <a:gd name="connsiteX12" fmla="*/ 537709 w 608133"/>
                <a:gd name="connsiteY12" fmla="*/ 445832 h 445832"/>
                <a:gd name="connsiteX13" fmla="*/ 502717 w 608133"/>
                <a:gd name="connsiteY13" fmla="*/ 445832 h 445832"/>
                <a:gd name="connsiteX14" fmla="*/ 502717 w 608133"/>
                <a:gd name="connsiteY14" fmla="*/ 323311 h 445832"/>
                <a:gd name="connsiteX15" fmla="*/ 510108 w 608133"/>
                <a:gd name="connsiteY15" fmla="*/ 310265 h 445832"/>
                <a:gd name="connsiteX16" fmla="*/ 502638 w 608133"/>
                <a:gd name="connsiteY16" fmla="*/ 295962 h 445832"/>
                <a:gd name="connsiteX17" fmla="*/ 513018 w 608133"/>
                <a:gd name="connsiteY17" fmla="*/ 280008 h 445832"/>
                <a:gd name="connsiteX18" fmla="*/ 512546 w 608133"/>
                <a:gd name="connsiteY18" fmla="*/ 279379 h 445832"/>
                <a:gd name="connsiteX19" fmla="*/ 512546 w 608133"/>
                <a:gd name="connsiteY19" fmla="*/ 155522 h 445832"/>
                <a:gd name="connsiteX20" fmla="*/ 306663 w 608133"/>
                <a:gd name="connsiteY20" fmla="*/ 0 h 445832"/>
                <a:gd name="connsiteX21" fmla="*/ 608133 w 608133"/>
                <a:gd name="connsiteY21" fmla="*/ 115790 h 445832"/>
                <a:gd name="connsiteX22" fmla="*/ 306663 w 608133"/>
                <a:gd name="connsiteY22" fmla="*/ 215083 h 445832"/>
                <a:gd name="connsiteX23" fmla="*/ 0 w 608133"/>
                <a:gd name="connsiteY23" fmla="*/ 115790 h 44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08133" h="445832">
                  <a:moveTo>
                    <a:pt x="124336" y="165476"/>
                  </a:moveTo>
                  <a:lnTo>
                    <a:pt x="304070" y="225979"/>
                  </a:lnTo>
                  <a:lnTo>
                    <a:pt x="485772" y="165476"/>
                  </a:lnTo>
                  <a:lnTo>
                    <a:pt x="485772" y="250808"/>
                  </a:lnTo>
                  <a:cubicBezTo>
                    <a:pt x="485772" y="250808"/>
                    <a:pt x="404167" y="245701"/>
                    <a:pt x="305015" y="308089"/>
                  </a:cubicBezTo>
                  <a:cubicBezTo>
                    <a:pt x="305015" y="308089"/>
                    <a:pt x="219948" y="252066"/>
                    <a:pt x="124336" y="250101"/>
                  </a:cubicBezTo>
                  <a:close/>
                  <a:moveTo>
                    <a:pt x="527801" y="150728"/>
                  </a:moveTo>
                  <a:lnTo>
                    <a:pt x="527801" y="280008"/>
                  </a:lnTo>
                  <a:lnTo>
                    <a:pt x="527801" y="280244"/>
                  </a:lnTo>
                  <a:cubicBezTo>
                    <a:pt x="533620" y="283073"/>
                    <a:pt x="537709" y="289046"/>
                    <a:pt x="537709" y="295962"/>
                  </a:cubicBezTo>
                  <a:cubicBezTo>
                    <a:pt x="537709" y="301856"/>
                    <a:pt x="534721" y="307043"/>
                    <a:pt x="530239" y="310265"/>
                  </a:cubicBezTo>
                  <a:cubicBezTo>
                    <a:pt x="534721" y="312937"/>
                    <a:pt x="537709" y="317731"/>
                    <a:pt x="537709" y="323311"/>
                  </a:cubicBezTo>
                  <a:lnTo>
                    <a:pt x="537709" y="445832"/>
                  </a:lnTo>
                  <a:lnTo>
                    <a:pt x="502717" y="445832"/>
                  </a:lnTo>
                  <a:lnTo>
                    <a:pt x="502717" y="323311"/>
                  </a:lnTo>
                  <a:cubicBezTo>
                    <a:pt x="502717" y="317731"/>
                    <a:pt x="505705" y="312937"/>
                    <a:pt x="510108" y="310265"/>
                  </a:cubicBezTo>
                  <a:cubicBezTo>
                    <a:pt x="505626" y="307043"/>
                    <a:pt x="502638" y="301856"/>
                    <a:pt x="502638" y="295962"/>
                  </a:cubicBezTo>
                  <a:cubicBezTo>
                    <a:pt x="502638" y="288810"/>
                    <a:pt x="506884" y="282759"/>
                    <a:pt x="513018" y="280008"/>
                  </a:cubicBezTo>
                  <a:lnTo>
                    <a:pt x="512546" y="279379"/>
                  </a:lnTo>
                  <a:lnTo>
                    <a:pt x="512546" y="155522"/>
                  </a:lnTo>
                  <a:close/>
                  <a:moveTo>
                    <a:pt x="306663" y="0"/>
                  </a:moveTo>
                  <a:lnTo>
                    <a:pt x="608133" y="115790"/>
                  </a:lnTo>
                  <a:lnTo>
                    <a:pt x="306663" y="215083"/>
                  </a:lnTo>
                  <a:lnTo>
                    <a:pt x="0" y="11579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ctr">
              <a:normAutofit fontScale="3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472378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6000" dirty="0"/>
              <a:t>Thanks</a:t>
            </a:r>
            <a:br>
              <a:rPr lang="en-US" altLang="zh-CN" dirty="0"/>
            </a:br>
            <a:r>
              <a:rPr lang="en-US" altLang="zh-CN" b="0" dirty="0"/>
              <a:t>And Your Slogan Here</a:t>
            </a:r>
            <a:endParaRPr lang="zh-CN" altLang="en-US" b="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OfficePLUS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0" y="0"/>
            <a:ext cx="12192000" cy="5676563"/>
            <a:chOff x="0" y="0"/>
            <a:chExt cx="12192000" cy="5676563"/>
          </a:xfrm>
        </p:grpSpPr>
        <p:grpSp>
          <p:nvGrpSpPr>
            <p:cNvPr id="6" name="组合 5"/>
            <p:cNvGrpSpPr/>
            <p:nvPr/>
          </p:nvGrpSpPr>
          <p:grpSpPr>
            <a:xfrm>
              <a:off x="4112539" y="0"/>
              <a:ext cx="3954222" cy="2092014"/>
              <a:chOff x="6602119" y="3602617"/>
              <a:chExt cx="3954222" cy="2092014"/>
            </a:xfrm>
          </p:grpSpPr>
          <p:sp>
            <p:nvSpPr>
              <p:cNvPr id="28" name="文本框 27"/>
              <p:cNvSpPr txBox="1"/>
              <p:nvPr/>
            </p:nvSpPr>
            <p:spPr>
              <a:xfrm>
                <a:off x="8058498" y="4340847"/>
                <a:ext cx="2497843" cy="61555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 anchorCtr="0">
                <a:normAutofit fontScale="92500" lnSpcReduction="20000"/>
              </a:bodyPr>
              <a:lstStyle/>
              <a:p>
                <a:pPr>
                  <a:lnSpc>
                    <a:spcPct val="110000"/>
                  </a:lnSpc>
                </a:pPr>
                <a:r>
                  <a:rPr lang="en-US" altLang="zh-CN" sz="4000">
                    <a:solidFill>
                      <a:schemeClr val="bg1">
                        <a:lumMod val="65000"/>
                      </a:schemeClr>
                    </a:solidFill>
                  </a:rPr>
                  <a:t>O</a:t>
                </a:r>
                <a:r>
                  <a:rPr lang="en-US" altLang="zh-CN" sz="100">
                    <a:solidFill>
                      <a:schemeClr val="bg1">
                        <a:lumMod val="65000"/>
                      </a:schemeClr>
                    </a:solidFill>
                  </a:rPr>
                  <a:t> </a:t>
                </a:r>
                <a:r>
                  <a:rPr lang="en-US" altLang="zh-CN" sz="4000">
                    <a:solidFill>
                      <a:schemeClr val="bg1">
                        <a:lumMod val="65000"/>
                      </a:schemeClr>
                    </a:solidFill>
                  </a:rPr>
                  <a:t>NTENTS</a:t>
                </a:r>
                <a:endParaRPr lang="en-US" altLang="zh-CN" sz="4000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  <p:sp>
            <p:nvSpPr>
              <p:cNvPr id="29" name="矩形 28"/>
              <p:cNvSpPr/>
              <p:nvPr/>
            </p:nvSpPr>
            <p:spPr>
              <a:xfrm>
                <a:off x="6602119" y="3602617"/>
                <a:ext cx="1764196" cy="2092014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6600" b="1" dirty="0">
                    <a:ln w="76200">
                      <a:solidFill>
                        <a:schemeClr val="bg1"/>
                      </a:solidFill>
                    </a:ln>
                    <a:solidFill>
                      <a:schemeClr val="accent1"/>
                    </a:solidFill>
                  </a:rPr>
                  <a:t>C</a:t>
                </a:r>
              </a:p>
            </p:txBody>
          </p:sp>
        </p:grpSp>
        <p:cxnSp>
          <p:nvCxnSpPr>
            <p:cNvPr id="7" name="直接连接符 6"/>
            <p:cNvCxnSpPr/>
            <p:nvPr/>
          </p:nvCxnSpPr>
          <p:spPr>
            <a:xfrm>
              <a:off x="0" y="2092014"/>
              <a:ext cx="12192000" cy="0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组合 7"/>
            <p:cNvGrpSpPr/>
            <p:nvPr/>
          </p:nvGrpSpPr>
          <p:grpSpPr>
            <a:xfrm>
              <a:off x="2989667" y="2937844"/>
              <a:ext cx="2750595" cy="1085850"/>
              <a:chOff x="1857452" y="3069409"/>
              <a:chExt cx="2750595" cy="1085850"/>
            </a:xfrm>
          </p:grpSpPr>
          <p:sp>
            <p:nvSpPr>
              <p:cNvPr id="24" name="矩形: 圆角 23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</a:rPr>
                  <a:t>1</a:t>
                </a:r>
                <a:endParaRPr lang="zh-CN" altLang="en-US" sz="28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5" name="组合 24"/>
              <p:cNvGrpSpPr/>
              <p:nvPr/>
            </p:nvGrpSpPr>
            <p:grpSpPr>
              <a:xfrm>
                <a:off x="2741709" y="3069409"/>
                <a:ext cx="1866338" cy="1085850"/>
                <a:chOff x="5162831" y="2886075"/>
                <a:chExt cx="1866338" cy="1085850"/>
              </a:xfrm>
            </p:grpSpPr>
            <p:sp>
              <p:nvSpPr>
                <p:cNvPr id="26" name="矩形 25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/>
                    <a:t>Supp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orting </a:t>
                  </a:r>
                  <a:r>
                    <a:rPr lang="en-US" altLang="zh-CN" sz="1100" dirty="0"/>
                    <a:t>text here.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27" name="矩形 26"/>
                <p:cNvSpPr/>
                <p:nvPr/>
              </p:nvSpPr>
              <p:spPr>
                <a:xfrm>
                  <a:off x="5162831" y="2886075"/>
                  <a:ext cx="186633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</a:rPr>
                    <a:t>选题目的与意义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9" name="组合 8"/>
            <p:cNvGrpSpPr/>
            <p:nvPr/>
          </p:nvGrpSpPr>
          <p:grpSpPr>
            <a:xfrm>
              <a:off x="6439038" y="2937844"/>
              <a:ext cx="2750595" cy="1085850"/>
              <a:chOff x="1857452" y="3069409"/>
              <a:chExt cx="2750595" cy="1085850"/>
            </a:xfrm>
          </p:grpSpPr>
          <p:sp>
            <p:nvSpPr>
              <p:cNvPr id="20" name="矩形: 圆角 19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</a:rPr>
                  <a:t>2</a:t>
                </a:r>
                <a:endParaRPr lang="zh-CN" altLang="en-US" sz="28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1" name="组合 20"/>
              <p:cNvGrpSpPr/>
              <p:nvPr/>
            </p:nvGrpSpPr>
            <p:grpSpPr>
              <a:xfrm>
                <a:off x="2741709" y="3069409"/>
                <a:ext cx="1866338" cy="1085850"/>
                <a:chOff x="5162831" y="2886075"/>
                <a:chExt cx="1866338" cy="1085850"/>
              </a:xfrm>
            </p:grpSpPr>
            <p:sp>
              <p:nvSpPr>
                <p:cNvPr id="22" name="矩形 21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/>
                    <a:t>Supp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orting </a:t>
                  </a:r>
                  <a:r>
                    <a:rPr lang="en-US" altLang="zh-CN" sz="1100" dirty="0"/>
                    <a:t>text here.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23" name="矩形 22"/>
                <p:cNvSpPr/>
                <p:nvPr/>
              </p:nvSpPr>
              <p:spPr>
                <a:xfrm>
                  <a:off x="5162831" y="2886075"/>
                  <a:ext cx="186633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</a:rPr>
                    <a:t>论文综述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0" name="组合 9"/>
            <p:cNvGrpSpPr>
              <a:grpSpLocks/>
            </p:cNvGrpSpPr>
            <p:nvPr/>
          </p:nvGrpSpPr>
          <p:grpSpPr>
            <a:xfrm>
              <a:off x="2989667" y="4590713"/>
              <a:ext cx="2750595" cy="1085850"/>
              <a:chOff x="1857452" y="3069409"/>
              <a:chExt cx="2750595" cy="1085850"/>
            </a:xfrm>
          </p:grpSpPr>
          <p:sp>
            <p:nvSpPr>
              <p:cNvPr id="16" name="矩形: 圆角 15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</a:rPr>
                  <a:t>3</a:t>
                </a:r>
                <a:endParaRPr lang="zh-CN" altLang="en-US" sz="28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7" name="组合 16"/>
              <p:cNvGrpSpPr/>
              <p:nvPr/>
            </p:nvGrpSpPr>
            <p:grpSpPr>
              <a:xfrm>
                <a:off x="2741709" y="3069409"/>
                <a:ext cx="1866338" cy="1085850"/>
                <a:chOff x="5162831" y="2886075"/>
                <a:chExt cx="1866338" cy="1085850"/>
              </a:xfrm>
            </p:grpSpPr>
            <p:sp>
              <p:nvSpPr>
                <p:cNvPr id="18" name="矩形 17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/>
                    <a:t>Supp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orting </a:t>
                  </a:r>
                  <a:r>
                    <a:rPr lang="en-US" altLang="zh-CN" sz="1100" dirty="0"/>
                    <a:t>text here.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19" name="矩形 18"/>
                <p:cNvSpPr/>
                <p:nvPr/>
              </p:nvSpPr>
              <p:spPr>
                <a:xfrm>
                  <a:off x="5162831" y="2886075"/>
                  <a:ext cx="186633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</a:rPr>
                    <a:t>研究方法及过程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1" name="组合 10"/>
            <p:cNvGrpSpPr>
              <a:grpSpLocks/>
            </p:cNvGrpSpPr>
            <p:nvPr/>
          </p:nvGrpSpPr>
          <p:grpSpPr>
            <a:xfrm>
              <a:off x="6439038" y="4590713"/>
              <a:ext cx="2750595" cy="1085850"/>
              <a:chOff x="1857452" y="3069409"/>
              <a:chExt cx="2750595" cy="1085850"/>
            </a:xfrm>
          </p:grpSpPr>
          <p:sp>
            <p:nvSpPr>
              <p:cNvPr id="12" name="矩形: 圆角 11"/>
              <p:cNvSpPr/>
              <p:nvPr/>
            </p:nvSpPr>
            <p:spPr>
              <a:xfrm>
                <a:off x="1857452" y="3245668"/>
                <a:ext cx="757508" cy="733332"/>
              </a:xfrm>
              <a:prstGeom prst="roundRect">
                <a:avLst>
                  <a:gd name="adj" fmla="val 5587"/>
                </a:avLst>
              </a:prstGeom>
              <a:noFill/>
              <a:ln w="12700" cap="rnd">
                <a:solidFill>
                  <a:schemeClr val="bg1">
                    <a:lumMod val="8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sz="2800" b="1">
                    <a:solidFill>
                      <a:schemeClr val="accent1"/>
                    </a:solidFill>
                  </a:rPr>
                  <a:t>0</a:t>
                </a:r>
                <a:r>
                  <a:rPr lang="en-US" altLang="zh-CN" sz="100" b="1">
                    <a:solidFill>
                      <a:schemeClr val="accent1"/>
                    </a:solidFill>
                  </a:rPr>
                  <a:t> </a:t>
                </a:r>
                <a:r>
                  <a:rPr lang="en-US" altLang="zh-CN" sz="2800" b="1">
                    <a:solidFill>
                      <a:schemeClr val="accent1"/>
                    </a:solidFill>
                  </a:rPr>
                  <a:t>4</a:t>
                </a:r>
                <a:endParaRPr lang="zh-CN" altLang="en-US" sz="28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3" name="组合 12"/>
              <p:cNvGrpSpPr/>
              <p:nvPr/>
            </p:nvGrpSpPr>
            <p:grpSpPr>
              <a:xfrm>
                <a:off x="2741709" y="3069409"/>
                <a:ext cx="1866338" cy="1085850"/>
                <a:chOff x="5162831" y="2886075"/>
                <a:chExt cx="1866338" cy="1085850"/>
              </a:xfrm>
            </p:grpSpPr>
            <p:sp>
              <p:nvSpPr>
                <p:cNvPr id="14" name="矩形 13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5162831" y="3375774"/>
                  <a:ext cx="1866338" cy="5961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/>
                    <a:t>Supp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orting </a:t>
                  </a:r>
                  <a:r>
                    <a:rPr lang="en-US" altLang="zh-CN" sz="1100" dirty="0"/>
                    <a:t>text here.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15" name="矩形 14"/>
                <p:cNvSpPr/>
                <p:nvPr/>
              </p:nvSpPr>
              <p:spPr>
                <a:xfrm>
                  <a:off x="5162831" y="2886075"/>
                  <a:ext cx="1866338" cy="489700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r>
                    <a:rPr lang="zh-CN" altLang="en-US" sz="1600" b="1" dirty="0">
                      <a:solidFill>
                        <a:schemeClr val="tx1"/>
                      </a:solidFill>
                    </a:rPr>
                    <a:t>论文总结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66146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选题目的与意义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44772" y="2667679"/>
            <a:ext cx="1861056" cy="161811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1620000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选题目的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65" name="组合 6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1943100"/>
            <a:ext cx="10159863" cy="3390900"/>
            <a:chOff x="669925" y="1943100"/>
            <a:chExt cx="10159863" cy="3390900"/>
          </a:xfrm>
        </p:grpSpPr>
        <p:sp>
          <p:nvSpPr>
            <p:cNvPr id="66" name="任意多边形: 形状 65"/>
            <p:cNvSpPr/>
            <p:nvPr/>
          </p:nvSpPr>
          <p:spPr bwMode="auto">
            <a:xfrm>
              <a:off x="1160329" y="2261253"/>
              <a:ext cx="4022725" cy="977900"/>
            </a:xfrm>
            <a:custGeom>
              <a:avLst/>
              <a:gdLst>
                <a:gd name="T0" fmla="*/ 2534 w 2534"/>
                <a:gd name="T1" fmla="*/ 0 h 616"/>
                <a:gd name="T2" fmla="*/ 2189 w 2534"/>
                <a:gd name="T3" fmla="*/ 0 h 616"/>
                <a:gd name="T4" fmla="*/ 998 w 2534"/>
                <a:gd name="T5" fmla="*/ 616 h 616"/>
                <a:gd name="T6" fmla="*/ 0 w 2534"/>
                <a:gd name="T7" fmla="*/ 616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34" h="616">
                  <a:moveTo>
                    <a:pt x="2534" y="0"/>
                  </a:moveTo>
                  <a:lnTo>
                    <a:pt x="2189" y="0"/>
                  </a:lnTo>
                  <a:lnTo>
                    <a:pt x="998" y="616"/>
                  </a:lnTo>
                  <a:lnTo>
                    <a:pt x="0" y="616"/>
                  </a:lnTo>
                </a:path>
              </a:pathLst>
            </a:custGeom>
            <a:noFill/>
            <a:ln w="58738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7" name="任意多边形: 形状 66"/>
            <p:cNvSpPr/>
            <p:nvPr/>
          </p:nvSpPr>
          <p:spPr bwMode="auto">
            <a:xfrm>
              <a:off x="1160329" y="3240303"/>
              <a:ext cx="3443288" cy="396875"/>
            </a:xfrm>
            <a:custGeom>
              <a:avLst/>
              <a:gdLst>
                <a:gd name="T0" fmla="*/ 2169 w 2169"/>
                <a:gd name="T1" fmla="*/ 0 h 250"/>
                <a:gd name="T2" fmla="*/ 1874 w 2169"/>
                <a:gd name="T3" fmla="*/ 0 h 250"/>
                <a:gd name="T4" fmla="*/ 1002 w 2169"/>
                <a:gd name="T5" fmla="*/ 249 h 250"/>
                <a:gd name="T6" fmla="*/ 0 w 2169"/>
                <a:gd name="T7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9" h="250">
                  <a:moveTo>
                    <a:pt x="2169" y="0"/>
                  </a:moveTo>
                  <a:lnTo>
                    <a:pt x="1874" y="0"/>
                  </a:lnTo>
                  <a:lnTo>
                    <a:pt x="1002" y="249"/>
                  </a:lnTo>
                  <a:lnTo>
                    <a:pt x="0" y="250"/>
                  </a:lnTo>
                </a:path>
              </a:pathLst>
            </a:custGeom>
            <a:noFill/>
            <a:ln w="571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8" name="任意多边形: 形状 67"/>
            <p:cNvSpPr/>
            <p:nvPr/>
          </p:nvSpPr>
          <p:spPr bwMode="auto">
            <a:xfrm>
              <a:off x="1160329" y="3638328"/>
              <a:ext cx="3443288" cy="396875"/>
            </a:xfrm>
            <a:custGeom>
              <a:avLst/>
              <a:gdLst>
                <a:gd name="T0" fmla="*/ 2169 w 2169"/>
                <a:gd name="T1" fmla="*/ 250 h 250"/>
                <a:gd name="T2" fmla="*/ 1874 w 2169"/>
                <a:gd name="T3" fmla="*/ 250 h 250"/>
                <a:gd name="T4" fmla="*/ 1002 w 2169"/>
                <a:gd name="T5" fmla="*/ 1 h 250"/>
                <a:gd name="T6" fmla="*/ 0 w 2169"/>
                <a:gd name="T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9" h="250">
                  <a:moveTo>
                    <a:pt x="2169" y="250"/>
                  </a:moveTo>
                  <a:lnTo>
                    <a:pt x="1874" y="250"/>
                  </a:lnTo>
                  <a:lnTo>
                    <a:pt x="1002" y="1"/>
                  </a:lnTo>
                  <a:lnTo>
                    <a:pt x="0" y="0"/>
                  </a:lnTo>
                </a:path>
              </a:pathLst>
            </a:custGeom>
            <a:noFill/>
            <a:ln w="571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9" name="任意多边形: 形状 68"/>
            <p:cNvSpPr/>
            <p:nvPr/>
          </p:nvSpPr>
          <p:spPr bwMode="auto">
            <a:xfrm>
              <a:off x="1160329" y="4037944"/>
              <a:ext cx="4021138" cy="979487"/>
            </a:xfrm>
            <a:custGeom>
              <a:avLst/>
              <a:gdLst>
                <a:gd name="T0" fmla="*/ 2533 w 2533"/>
                <a:gd name="T1" fmla="*/ 617 h 617"/>
                <a:gd name="T2" fmla="*/ 2188 w 2533"/>
                <a:gd name="T3" fmla="*/ 617 h 617"/>
                <a:gd name="T4" fmla="*/ 997 w 2533"/>
                <a:gd name="T5" fmla="*/ 0 h 617"/>
                <a:gd name="T6" fmla="*/ 0 w 2533"/>
                <a:gd name="T7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33" h="617">
                  <a:moveTo>
                    <a:pt x="2533" y="617"/>
                  </a:moveTo>
                  <a:lnTo>
                    <a:pt x="2188" y="617"/>
                  </a:lnTo>
                  <a:lnTo>
                    <a:pt x="997" y="0"/>
                  </a:lnTo>
                  <a:lnTo>
                    <a:pt x="0" y="0"/>
                  </a:lnTo>
                </a:path>
              </a:pathLst>
            </a:custGeom>
            <a:noFill/>
            <a:ln w="571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70" name="椭圆 69"/>
            <p:cNvSpPr/>
            <p:nvPr/>
          </p:nvSpPr>
          <p:spPr>
            <a:xfrm>
              <a:off x="669925" y="2580546"/>
              <a:ext cx="2116004" cy="2116004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2800">
                  <a:solidFill>
                    <a:schemeClr val="bg1"/>
                  </a:solidFill>
                </a:rPr>
                <a:t>…Text</a:t>
              </a:r>
              <a:endParaRPr lang="zh-CN" altLang="en-US" sz="2800" dirty="0">
                <a:solidFill>
                  <a:schemeClr val="bg1"/>
                </a:solidFill>
              </a:endParaRPr>
            </a:p>
          </p:txBody>
        </p:sp>
        <p:grpSp>
          <p:nvGrpSpPr>
            <p:cNvPr id="71" name="组合 70"/>
            <p:cNvGrpSpPr/>
            <p:nvPr/>
          </p:nvGrpSpPr>
          <p:grpSpPr>
            <a:xfrm>
              <a:off x="5182180" y="1943100"/>
              <a:ext cx="634803" cy="634802"/>
              <a:chOff x="5182180" y="1943100"/>
              <a:chExt cx="634803" cy="634802"/>
            </a:xfrm>
          </p:grpSpPr>
          <p:sp>
            <p:nvSpPr>
              <p:cNvPr id="93" name="椭圆 92"/>
              <p:cNvSpPr/>
              <p:nvPr/>
            </p:nvSpPr>
            <p:spPr>
              <a:xfrm>
                <a:off x="5182180" y="1943100"/>
                <a:ext cx="634803" cy="634802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任意多边形: 形状 93"/>
              <p:cNvSpPr/>
              <p:nvPr/>
            </p:nvSpPr>
            <p:spPr>
              <a:xfrm>
                <a:off x="5284405" y="2102753"/>
                <a:ext cx="430352" cy="315496"/>
              </a:xfrm>
              <a:custGeom>
                <a:avLst/>
                <a:gdLst>
                  <a:gd name="connsiteX0" fmla="*/ 124336 w 608133"/>
                  <a:gd name="connsiteY0" fmla="*/ 165476 h 445832"/>
                  <a:gd name="connsiteX1" fmla="*/ 304070 w 608133"/>
                  <a:gd name="connsiteY1" fmla="*/ 225979 h 445832"/>
                  <a:gd name="connsiteX2" fmla="*/ 485772 w 608133"/>
                  <a:gd name="connsiteY2" fmla="*/ 165476 h 445832"/>
                  <a:gd name="connsiteX3" fmla="*/ 485772 w 608133"/>
                  <a:gd name="connsiteY3" fmla="*/ 250808 h 445832"/>
                  <a:gd name="connsiteX4" fmla="*/ 305015 w 608133"/>
                  <a:gd name="connsiteY4" fmla="*/ 308089 h 445832"/>
                  <a:gd name="connsiteX5" fmla="*/ 124336 w 608133"/>
                  <a:gd name="connsiteY5" fmla="*/ 250101 h 445832"/>
                  <a:gd name="connsiteX6" fmla="*/ 527801 w 608133"/>
                  <a:gd name="connsiteY6" fmla="*/ 150728 h 445832"/>
                  <a:gd name="connsiteX7" fmla="*/ 527801 w 608133"/>
                  <a:gd name="connsiteY7" fmla="*/ 280008 h 445832"/>
                  <a:gd name="connsiteX8" fmla="*/ 527801 w 608133"/>
                  <a:gd name="connsiteY8" fmla="*/ 280244 h 445832"/>
                  <a:gd name="connsiteX9" fmla="*/ 537709 w 608133"/>
                  <a:gd name="connsiteY9" fmla="*/ 295962 h 445832"/>
                  <a:gd name="connsiteX10" fmla="*/ 530239 w 608133"/>
                  <a:gd name="connsiteY10" fmla="*/ 310265 h 445832"/>
                  <a:gd name="connsiteX11" fmla="*/ 537709 w 608133"/>
                  <a:gd name="connsiteY11" fmla="*/ 323311 h 445832"/>
                  <a:gd name="connsiteX12" fmla="*/ 537709 w 608133"/>
                  <a:gd name="connsiteY12" fmla="*/ 445832 h 445832"/>
                  <a:gd name="connsiteX13" fmla="*/ 502717 w 608133"/>
                  <a:gd name="connsiteY13" fmla="*/ 445832 h 445832"/>
                  <a:gd name="connsiteX14" fmla="*/ 502717 w 608133"/>
                  <a:gd name="connsiteY14" fmla="*/ 323311 h 445832"/>
                  <a:gd name="connsiteX15" fmla="*/ 510108 w 608133"/>
                  <a:gd name="connsiteY15" fmla="*/ 310265 h 445832"/>
                  <a:gd name="connsiteX16" fmla="*/ 502638 w 608133"/>
                  <a:gd name="connsiteY16" fmla="*/ 295962 h 445832"/>
                  <a:gd name="connsiteX17" fmla="*/ 513018 w 608133"/>
                  <a:gd name="connsiteY17" fmla="*/ 280008 h 445832"/>
                  <a:gd name="connsiteX18" fmla="*/ 512546 w 608133"/>
                  <a:gd name="connsiteY18" fmla="*/ 279379 h 445832"/>
                  <a:gd name="connsiteX19" fmla="*/ 512546 w 608133"/>
                  <a:gd name="connsiteY19" fmla="*/ 155522 h 445832"/>
                  <a:gd name="connsiteX20" fmla="*/ 306663 w 608133"/>
                  <a:gd name="connsiteY20" fmla="*/ 0 h 445832"/>
                  <a:gd name="connsiteX21" fmla="*/ 608133 w 608133"/>
                  <a:gd name="connsiteY21" fmla="*/ 115790 h 445832"/>
                  <a:gd name="connsiteX22" fmla="*/ 306663 w 608133"/>
                  <a:gd name="connsiteY22" fmla="*/ 215083 h 445832"/>
                  <a:gd name="connsiteX23" fmla="*/ 0 w 608133"/>
                  <a:gd name="connsiteY23" fmla="*/ 115790 h 445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08133" h="445832">
                    <a:moveTo>
                      <a:pt x="124336" y="165476"/>
                    </a:moveTo>
                    <a:lnTo>
                      <a:pt x="304070" y="225979"/>
                    </a:lnTo>
                    <a:lnTo>
                      <a:pt x="485772" y="165476"/>
                    </a:lnTo>
                    <a:lnTo>
                      <a:pt x="485772" y="250808"/>
                    </a:lnTo>
                    <a:cubicBezTo>
                      <a:pt x="485772" y="250808"/>
                      <a:pt x="404167" y="245701"/>
                      <a:pt x="305015" y="308089"/>
                    </a:cubicBezTo>
                    <a:cubicBezTo>
                      <a:pt x="305015" y="308089"/>
                      <a:pt x="219948" y="252066"/>
                      <a:pt x="124336" y="250101"/>
                    </a:cubicBezTo>
                    <a:close/>
                    <a:moveTo>
                      <a:pt x="527801" y="150728"/>
                    </a:moveTo>
                    <a:lnTo>
                      <a:pt x="527801" y="280008"/>
                    </a:lnTo>
                    <a:lnTo>
                      <a:pt x="527801" y="280244"/>
                    </a:lnTo>
                    <a:cubicBezTo>
                      <a:pt x="533620" y="283073"/>
                      <a:pt x="537709" y="289046"/>
                      <a:pt x="537709" y="295962"/>
                    </a:cubicBezTo>
                    <a:cubicBezTo>
                      <a:pt x="537709" y="301856"/>
                      <a:pt x="534721" y="307043"/>
                      <a:pt x="530239" y="310265"/>
                    </a:cubicBezTo>
                    <a:cubicBezTo>
                      <a:pt x="534721" y="312937"/>
                      <a:pt x="537709" y="317731"/>
                      <a:pt x="537709" y="323311"/>
                    </a:cubicBezTo>
                    <a:lnTo>
                      <a:pt x="537709" y="445832"/>
                    </a:lnTo>
                    <a:lnTo>
                      <a:pt x="502717" y="445832"/>
                    </a:lnTo>
                    <a:lnTo>
                      <a:pt x="502717" y="323311"/>
                    </a:lnTo>
                    <a:cubicBezTo>
                      <a:pt x="502717" y="317731"/>
                      <a:pt x="505705" y="312937"/>
                      <a:pt x="510108" y="310265"/>
                    </a:cubicBezTo>
                    <a:cubicBezTo>
                      <a:pt x="505626" y="307043"/>
                      <a:pt x="502638" y="301856"/>
                      <a:pt x="502638" y="295962"/>
                    </a:cubicBezTo>
                    <a:cubicBezTo>
                      <a:pt x="502638" y="288810"/>
                      <a:pt x="506884" y="282759"/>
                      <a:pt x="513018" y="280008"/>
                    </a:cubicBezTo>
                    <a:lnTo>
                      <a:pt x="512546" y="279379"/>
                    </a:lnTo>
                    <a:lnTo>
                      <a:pt x="512546" y="155522"/>
                    </a:lnTo>
                    <a:close/>
                    <a:moveTo>
                      <a:pt x="306663" y="0"/>
                    </a:moveTo>
                    <a:lnTo>
                      <a:pt x="608133" y="115790"/>
                    </a:lnTo>
                    <a:lnTo>
                      <a:pt x="306663" y="215083"/>
                    </a:lnTo>
                    <a:lnTo>
                      <a:pt x="0" y="11579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4601398" y="2861799"/>
              <a:ext cx="634803" cy="634802"/>
              <a:chOff x="4601398" y="2861799"/>
              <a:chExt cx="634803" cy="634802"/>
            </a:xfrm>
          </p:grpSpPr>
          <p:sp>
            <p:nvSpPr>
              <p:cNvPr id="91" name="椭圆 90"/>
              <p:cNvSpPr/>
              <p:nvPr/>
            </p:nvSpPr>
            <p:spPr>
              <a:xfrm>
                <a:off x="4601398" y="2861799"/>
                <a:ext cx="634803" cy="634802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任意多边形: 形状 91"/>
              <p:cNvSpPr/>
              <p:nvPr/>
            </p:nvSpPr>
            <p:spPr>
              <a:xfrm>
                <a:off x="4703623" y="3021451"/>
                <a:ext cx="430352" cy="315496"/>
              </a:xfrm>
              <a:custGeom>
                <a:avLst/>
                <a:gdLst>
                  <a:gd name="connsiteX0" fmla="*/ 124336 w 608133"/>
                  <a:gd name="connsiteY0" fmla="*/ 165476 h 445832"/>
                  <a:gd name="connsiteX1" fmla="*/ 304070 w 608133"/>
                  <a:gd name="connsiteY1" fmla="*/ 225979 h 445832"/>
                  <a:gd name="connsiteX2" fmla="*/ 485772 w 608133"/>
                  <a:gd name="connsiteY2" fmla="*/ 165476 h 445832"/>
                  <a:gd name="connsiteX3" fmla="*/ 485772 w 608133"/>
                  <a:gd name="connsiteY3" fmla="*/ 250808 h 445832"/>
                  <a:gd name="connsiteX4" fmla="*/ 305015 w 608133"/>
                  <a:gd name="connsiteY4" fmla="*/ 308089 h 445832"/>
                  <a:gd name="connsiteX5" fmla="*/ 124336 w 608133"/>
                  <a:gd name="connsiteY5" fmla="*/ 250101 h 445832"/>
                  <a:gd name="connsiteX6" fmla="*/ 527801 w 608133"/>
                  <a:gd name="connsiteY6" fmla="*/ 150728 h 445832"/>
                  <a:gd name="connsiteX7" fmla="*/ 527801 w 608133"/>
                  <a:gd name="connsiteY7" fmla="*/ 280008 h 445832"/>
                  <a:gd name="connsiteX8" fmla="*/ 527801 w 608133"/>
                  <a:gd name="connsiteY8" fmla="*/ 280244 h 445832"/>
                  <a:gd name="connsiteX9" fmla="*/ 537709 w 608133"/>
                  <a:gd name="connsiteY9" fmla="*/ 295962 h 445832"/>
                  <a:gd name="connsiteX10" fmla="*/ 530239 w 608133"/>
                  <a:gd name="connsiteY10" fmla="*/ 310265 h 445832"/>
                  <a:gd name="connsiteX11" fmla="*/ 537709 w 608133"/>
                  <a:gd name="connsiteY11" fmla="*/ 323311 h 445832"/>
                  <a:gd name="connsiteX12" fmla="*/ 537709 w 608133"/>
                  <a:gd name="connsiteY12" fmla="*/ 445832 h 445832"/>
                  <a:gd name="connsiteX13" fmla="*/ 502717 w 608133"/>
                  <a:gd name="connsiteY13" fmla="*/ 445832 h 445832"/>
                  <a:gd name="connsiteX14" fmla="*/ 502717 w 608133"/>
                  <a:gd name="connsiteY14" fmla="*/ 323311 h 445832"/>
                  <a:gd name="connsiteX15" fmla="*/ 510108 w 608133"/>
                  <a:gd name="connsiteY15" fmla="*/ 310265 h 445832"/>
                  <a:gd name="connsiteX16" fmla="*/ 502638 w 608133"/>
                  <a:gd name="connsiteY16" fmla="*/ 295962 h 445832"/>
                  <a:gd name="connsiteX17" fmla="*/ 513018 w 608133"/>
                  <a:gd name="connsiteY17" fmla="*/ 280008 h 445832"/>
                  <a:gd name="connsiteX18" fmla="*/ 512546 w 608133"/>
                  <a:gd name="connsiteY18" fmla="*/ 279379 h 445832"/>
                  <a:gd name="connsiteX19" fmla="*/ 512546 w 608133"/>
                  <a:gd name="connsiteY19" fmla="*/ 155522 h 445832"/>
                  <a:gd name="connsiteX20" fmla="*/ 306663 w 608133"/>
                  <a:gd name="connsiteY20" fmla="*/ 0 h 445832"/>
                  <a:gd name="connsiteX21" fmla="*/ 608133 w 608133"/>
                  <a:gd name="connsiteY21" fmla="*/ 115790 h 445832"/>
                  <a:gd name="connsiteX22" fmla="*/ 306663 w 608133"/>
                  <a:gd name="connsiteY22" fmla="*/ 215083 h 445832"/>
                  <a:gd name="connsiteX23" fmla="*/ 0 w 608133"/>
                  <a:gd name="connsiteY23" fmla="*/ 115790 h 445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08133" h="445832">
                    <a:moveTo>
                      <a:pt x="124336" y="165476"/>
                    </a:moveTo>
                    <a:lnTo>
                      <a:pt x="304070" y="225979"/>
                    </a:lnTo>
                    <a:lnTo>
                      <a:pt x="485772" y="165476"/>
                    </a:lnTo>
                    <a:lnTo>
                      <a:pt x="485772" y="250808"/>
                    </a:lnTo>
                    <a:cubicBezTo>
                      <a:pt x="485772" y="250808"/>
                      <a:pt x="404167" y="245701"/>
                      <a:pt x="305015" y="308089"/>
                    </a:cubicBezTo>
                    <a:cubicBezTo>
                      <a:pt x="305015" y="308089"/>
                      <a:pt x="219948" y="252066"/>
                      <a:pt x="124336" y="250101"/>
                    </a:cubicBezTo>
                    <a:close/>
                    <a:moveTo>
                      <a:pt x="527801" y="150728"/>
                    </a:moveTo>
                    <a:lnTo>
                      <a:pt x="527801" y="280008"/>
                    </a:lnTo>
                    <a:lnTo>
                      <a:pt x="527801" y="280244"/>
                    </a:lnTo>
                    <a:cubicBezTo>
                      <a:pt x="533620" y="283073"/>
                      <a:pt x="537709" y="289046"/>
                      <a:pt x="537709" y="295962"/>
                    </a:cubicBezTo>
                    <a:cubicBezTo>
                      <a:pt x="537709" y="301856"/>
                      <a:pt x="534721" y="307043"/>
                      <a:pt x="530239" y="310265"/>
                    </a:cubicBezTo>
                    <a:cubicBezTo>
                      <a:pt x="534721" y="312937"/>
                      <a:pt x="537709" y="317731"/>
                      <a:pt x="537709" y="323311"/>
                    </a:cubicBezTo>
                    <a:lnTo>
                      <a:pt x="537709" y="445832"/>
                    </a:lnTo>
                    <a:lnTo>
                      <a:pt x="502717" y="445832"/>
                    </a:lnTo>
                    <a:lnTo>
                      <a:pt x="502717" y="323311"/>
                    </a:lnTo>
                    <a:cubicBezTo>
                      <a:pt x="502717" y="317731"/>
                      <a:pt x="505705" y="312937"/>
                      <a:pt x="510108" y="310265"/>
                    </a:cubicBezTo>
                    <a:cubicBezTo>
                      <a:pt x="505626" y="307043"/>
                      <a:pt x="502638" y="301856"/>
                      <a:pt x="502638" y="295962"/>
                    </a:cubicBezTo>
                    <a:cubicBezTo>
                      <a:pt x="502638" y="288810"/>
                      <a:pt x="506884" y="282759"/>
                      <a:pt x="513018" y="280008"/>
                    </a:cubicBezTo>
                    <a:lnTo>
                      <a:pt x="512546" y="279379"/>
                    </a:lnTo>
                    <a:lnTo>
                      <a:pt x="512546" y="155522"/>
                    </a:lnTo>
                    <a:close/>
                    <a:moveTo>
                      <a:pt x="306663" y="0"/>
                    </a:moveTo>
                    <a:lnTo>
                      <a:pt x="608133" y="115790"/>
                    </a:lnTo>
                    <a:lnTo>
                      <a:pt x="306663" y="215083"/>
                    </a:lnTo>
                    <a:lnTo>
                      <a:pt x="0" y="11579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3" name="组合 72"/>
            <p:cNvGrpSpPr/>
            <p:nvPr/>
          </p:nvGrpSpPr>
          <p:grpSpPr>
            <a:xfrm>
              <a:off x="4601398" y="3780498"/>
              <a:ext cx="634803" cy="634802"/>
              <a:chOff x="4601398" y="3780498"/>
              <a:chExt cx="634803" cy="634802"/>
            </a:xfrm>
          </p:grpSpPr>
          <p:sp>
            <p:nvSpPr>
              <p:cNvPr id="89" name="椭圆 88"/>
              <p:cNvSpPr/>
              <p:nvPr/>
            </p:nvSpPr>
            <p:spPr>
              <a:xfrm>
                <a:off x="4601398" y="3780498"/>
                <a:ext cx="634803" cy="634802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任意多边形: 形状 89"/>
              <p:cNvSpPr/>
              <p:nvPr/>
            </p:nvSpPr>
            <p:spPr>
              <a:xfrm>
                <a:off x="4703623" y="3940150"/>
                <a:ext cx="430352" cy="315496"/>
              </a:xfrm>
              <a:custGeom>
                <a:avLst/>
                <a:gdLst>
                  <a:gd name="connsiteX0" fmla="*/ 124336 w 608133"/>
                  <a:gd name="connsiteY0" fmla="*/ 165476 h 445832"/>
                  <a:gd name="connsiteX1" fmla="*/ 304070 w 608133"/>
                  <a:gd name="connsiteY1" fmla="*/ 225979 h 445832"/>
                  <a:gd name="connsiteX2" fmla="*/ 485772 w 608133"/>
                  <a:gd name="connsiteY2" fmla="*/ 165476 h 445832"/>
                  <a:gd name="connsiteX3" fmla="*/ 485772 w 608133"/>
                  <a:gd name="connsiteY3" fmla="*/ 250808 h 445832"/>
                  <a:gd name="connsiteX4" fmla="*/ 305015 w 608133"/>
                  <a:gd name="connsiteY4" fmla="*/ 308089 h 445832"/>
                  <a:gd name="connsiteX5" fmla="*/ 124336 w 608133"/>
                  <a:gd name="connsiteY5" fmla="*/ 250101 h 445832"/>
                  <a:gd name="connsiteX6" fmla="*/ 527801 w 608133"/>
                  <a:gd name="connsiteY6" fmla="*/ 150728 h 445832"/>
                  <a:gd name="connsiteX7" fmla="*/ 527801 w 608133"/>
                  <a:gd name="connsiteY7" fmla="*/ 280008 h 445832"/>
                  <a:gd name="connsiteX8" fmla="*/ 527801 w 608133"/>
                  <a:gd name="connsiteY8" fmla="*/ 280244 h 445832"/>
                  <a:gd name="connsiteX9" fmla="*/ 537709 w 608133"/>
                  <a:gd name="connsiteY9" fmla="*/ 295962 h 445832"/>
                  <a:gd name="connsiteX10" fmla="*/ 530239 w 608133"/>
                  <a:gd name="connsiteY10" fmla="*/ 310265 h 445832"/>
                  <a:gd name="connsiteX11" fmla="*/ 537709 w 608133"/>
                  <a:gd name="connsiteY11" fmla="*/ 323311 h 445832"/>
                  <a:gd name="connsiteX12" fmla="*/ 537709 w 608133"/>
                  <a:gd name="connsiteY12" fmla="*/ 445832 h 445832"/>
                  <a:gd name="connsiteX13" fmla="*/ 502717 w 608133"/>
                  <a:gd name="connsiteY13" fmla="*/ 445832 h 445832"/>
                  <a:gd name="connsiteX14" fmla="*/ 502717 w 608133"/>
                  <a:gd name="connsiteY14" fmla="*/ 323311 h 445832"/>
                  <a:gd name="connsiteX15" fmla="*/ 510108 w 608133"/>
                  <a:gd name="connsiteY15" fmla="*/ 310265 h 445832"/>
                  <a:gd name="connsiteX16" fmla="*/ 502638 w 608133"/>
                  <a:gd name="connsiteY16" fmla="*/ 295962 h 445832"/>
                  <a:gd name="connsiteX17" fmla="*/ 513018 w 608133"/>
                  <a:gd name="connsiteY17" fmla="*/ 280008 h 445832"/>
                  <a:gd name="connsiteX18" fmla="*/ 512546 w 608133"/>
                  <a:gd name="connsiteY18" fmla="*/ 279379 h 445832"/>
                  <a:gd name="connsiteX19" fmla="*/ 512546 w 608133"/>
                  <a:gd name="connsiteY19" fmla="*/ 155522 h 445832"/>
                  <a:gd name="connsiteX20" fmla="*/ 306663 w 608133"/>
                  <a:gd name="connsiteY20" fmla="*/ 0 h 445832"/>
                  <a:gd name="connsiteX21" fmla="*/ 608133 w 608133"/>
                  <a:gd name="connsiteY21" fmla="*/ 115790 h 445832"/>
                  <a:gd name="connsiteX22" fmla="*/ 306663 w 608133"/>
                  <a:gd name="connsiteY22" fmla="*/ 215083 h 445832"/>
                  <a:gd name="connsiteX23" fmla="*/ 0 w 608133"/>
                  <a:gd name="connsiteY23" fmla="*/ 115790 h 445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08133" h="445832">
                    <a:moveTo>
                      <a:pt x="124336" y="165476"/>
                    </a:moveTo>
                    <a:lnTo>
                      <a:pt x="304070" y="225979"/>
                    </a:lnTo>
                    <a:lnTo>
                      <a:pt x="485772" y="165476"/>
                    </a:lnTo>
                    <a:lnTo>
                      <a:pt x="485772" y="250808"/>
                    </a:lnTo>
                    <a:cubicBezTo>
                      <a:pt x="485772" y="250808"/>
                      <a:pt x="404167" y="245701"/>
                      <a:pt x="305015" y="308089"/>
                    </a:cubicBezTo>
                    <a:cubicBezTo>
                      <a:pt x="305015" y="308089"/>
                      <a:pt x="219948" y="252066"/>
                      <a:pt x="124336" y="250101"/>
                    </a:cubicBezTo>
                    <a:close/>
                    <a:moveTo>
                      <a:pt x="527801" y="150728"/>
                    </a:moveTo>
                    <a:lnTo>
                      <a:pt x="527801" y="280008"/>
                    </a:lnTo>
                    <a:lnTo>
                      <a:pt x="527801" y="280244"/>
                    </a:lnTo>
                    <a:cubicBezTo>
                      <a:pt x="533620" y="283073"/>
                      <a:pt x="537709" y="289046"/>
                      <a:pt x="537709" y="295962"/>
                    </a:cubicBezTo>
                    <a:cubicBezTo>
                      <a:pt x="537709" y="301856"/>
                      <a:pt x="534721" y="307043"/>
                      <a:pt x="530239" y="310265"/>
                    </a:cubicBezTo>
                    <a:cubicBezTo>
                      <a:pt x="534721" y="312937"/>
                      <a:pt x="537709" y="317731"/>
                      <a:pt x="537709" y="323311"/>
                    </a:cubicBezTo>
                    <a:lnTo>
                      <a:pt x="537709" y="445832"/>
                    </a:lnTo>
                    <a:lnTo>
                      <a:pt x="502717" y="445832"/>
                    </a:lnTo>
                    <a:lnTo>
                      <a:pt x="502717" y="323311"/>
                    </a:lnTo>
                    <a:cubicBezTo>
                      <a:pt x="502717" y="317731"/>
                      <a:pt x="505705" y="312937"/>
                      <a:pt x="510108" y="310265"/>
                    </a:cubicBezTo>
                    <a:cubicBezTo>
                      <a:pt x="505626" y="307043"/>
                      <a:pt x="502638" y="301856"/>
                      <a:pt x="502638" y="295962"/>
                    </a:cubicBezTo>
                    <a:cubicBezTo>
                      <a:pt x="502638" y="288810"/>
                      <a:pt x="506884" y="282759"/>
                      <a:pt x="513018" y="280008"/>
                    </a:cubicBezTo>
                    <a:lnTo>
                      <a:pt x="512546" y="279379"/>
                    </a:lnTo>
                    <a:lnTo>
                      <a:pt x="512546" y="155522"/>
                    </a:lnTo>
                    <a:close/>
                    <a:moveTo>
                      <a:pt x="306663" y="0"/>
                    </a:moveTo>
                    <a:lnTo>
                      <a:pt x="608133" y="115790"/>
                    </a:lnTo>
                    <a:lnTo>
                      <a:pt x="306663" y="215083"/>
                    </a:lnTo>
                    <a:lnTo>
                      <a:pt x="0" y="11579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4" name="组合 73"/>
            <p:cNvGrpSpPr/>
            <p:nvPr/>
          </p:nvGrpSpPr>
          <p:grpSpPr>
            <a:xfrm>
              <a:off x="5182180" y="4699198"/>
              <a:ext cx="634803" cy="634802"/>
              <a:chOff x="5182180" y="4699198"/>
              <a:chExt cx="634803" cy="634802"/>
            </a:xfrm>
          </p:grpSpPr>
          <p:sp>
            <p:nvSpPr>
              <p:cNvPr id="87" name="椭圆 86"/>
              <p:cNvSpPr/>
              <p:nvPr/>
            </p:nvSpPr>
            <p:spPr>
              <a:xfrm>
                <a:off x="5182180" y="4699198"/>
                <a:ext cx="634803" cy="634802"/>
              </a:xfrm>
              <a:prstGeom prst="ellipse">
                <a:avLst/>
              </a:prstGeom>
              <a:solidFill>
                <a:schemeClr val="accent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任意多边形: 形状 87"/>
              <p:cNvSpPr/>
              <p:nvPr/>
            </p:nvSpPr>
            <p:spPr>
              <a:xfrm>
                <a:off x="5284405" y="4858850"/>
                <a:ext cx="430352" cy="315496"/>
              </a:xfrm>
              <a:custGeom>
                <a:avLst/>
                <a:gdLst>
                  <a:gd name="connsiteX0" fmla="*/ 124336 w 608133"/>
                  <a:gd name="connsiteY0" fmla="*/ 165476 h 445832"/>
                  <a:gd name="connsiteX1" fmla="*/ 304070 w 608133"/>
                  <a:gd name="connsiteY1" fmla="*/ 225979 h 445832"/>
                  <a:gd name="connsiteX2" fmla="*/ 485772 w 608133"/>
                  <a:gd name="connsiteY2" fmla="*/ 165476 h 445832"/>
                  <a:gd name="connsiteX3" fmla="*/ 485772 w 608133"/>
                  <a:gd name="connsiteY3" fmla="*/ 250808 h 445832"/>
                  <a:gd name="connsiteX4" fmla="*/ 305015 w 608133"/>
                  <a:gd name="connsiteY4" fmla="*/ 308089 h 445832"/>
                  <a:gd name="connsiteX5" fmla="*/ 124336 w 608133"/>
                  <a:gd name="connsiteY5" fmla="*/ 250101 h 445832"/>
                  <a:gd name="connsiteX6" fmla="*/ 527801 w 608133"/>
                  <a:gd name="connsiteY6" fmla="*/ 150728 h 445832"/>
                  <a:gd name="connsiteX7" fmla="*/ 527801 w 608133"/>
                  <a:gd name="connsiteY7" fmla="*/ 280008 h 445832"/>
                  <a:gd name="connsiteX8" fmla="*/ 527801 w 608133"/>
                  <a:gd name="connsiteY8" fmla="*/ 280244 h 445832"/>
                  <a:gd name="connsiteX9" fmla="*/ 537709 w 608133"/>
                  <a:gd name="connsiteY9" fmla="*/ 295962 h 445832"/>
                  <a:gd name="connsiteX10" fmla="*/ 530239 w 608133"/>
                  <a:gd name="connsiteY10" fmla="*/ 310265 h 445832"/>
                  <a:gd name="connsiteX11" fmla="*/ 537709 w 608133"/>
                  <a:gd name="connsiteY11" fmla="*/ 323311 h 445832"/>
                  <a:gd name="connsiteX12" fmla="*/ 537709 w 608133"/>
                  <a:gd name="connsiteY12" fmla="*/ 445832 h 445832"/>
                  <a:gd name="connsiteX13" fmla="*/ 502717 w 608133"/>
                  <a:gd name="connsiteY13" fmla="*/ 445832 h 445832"/>
                  <a:gd name="connsiteX14" fmla="*/ 502717 w 608133"/>
                  <a:gd name="connsiteY14" fmla="*/ 323311 h 445832"/>
                  <a:gd name="connsiteX15" fmla="*/ 510108 w 608133"/>
                  <a:gd name="connsiteY15" fmla="*/ 310265 h 445832"/>
                  <a:gd name="connsiteX16" fmla="*/ 502638 w 608133"/>
                  <a:gd name="connsiteY16" fmla="*/ 295962 h 445832"/>
                  <a:gd name="connsiteX17" fmla="*/ 513018 w 608133"/>
                  <a:gd name="connsiteY17" fmla="*/ 280008 h 445832"/>
                  <a:gd name="connsiteX18" fmla="*/ 512546 w 608133"/>
                  <a:gd name="connsiteY18" fmla="*/ 279379 h 445832"/>
                  <a:gd name="connsiteX19" fmla="*/ 512546 w 608133"/>
                  <a:gd name="connsiteY19" fmla="*/ 155522 h 445832"/>
                  <a:gd name="connsiteX20" fmla="*/ 306663 w 608133"/>
                  <a:gd name="connsiteY20" fmla="*/ 0 h 445832"/>
                  <a:gd name="connsiteX21" fmla="*/ 608133 w 608133"/>
                  <a:gd name="connsiteY21" fmla="*/ 115790 h 445832"/>
                  <a:gd name="connsiteX22" fmla="*/ 306663 w 608133"/>
                  <a:gd name="connsiteY22" fmla="*/ 215083 h 445832"/>
                  <a:gd name="connsiteX23" fmla="*/ 0 w 608133"/>
                  <a:gd name="connsiteY23" fmla="*/ 115790 h 445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08133" h="445832">
                    <a:moveTo>
                      <a:pt x="124336" y="165476"/>
                    </a:moveTo>
                    <a:lnTo>
                      <a:pt x="304070" y="225979"/>
                    </a:lnTo>
                    <a:lnTo>
                      <a:pt x="485772" y="165476"/>
                    </a:lnTo>
                    <a:lnTo>
                      <a:pt x="485772" y="250808"/>
                    </a:lnTo>
                    <a:cubicBezTo>
                      <a:pt x="485772" y="250808"/>
                      <a:pt x="404167" y="245701"/>
                      <a:pt x="305015" y="308089"/>
                    </a:cubicBezTo>
                    <a:cubicBezTo>
                      <a:pt x="305015" y="308089"/>
                      <a:pt x="219948" y="252066"/>
                      <a:pt x="124336" y="250101"/>
                    </a:cubicBezTo>
                    <a:close/>
                    <a:moveTo>
                      <a:pt x="527801" y="150728"/>
                    </a:moveTo>
                    <a:lnTo>
                      <a:pt x="527801" y="280008"/>
                    </a:lnTo>
                    <a:lnTo>
                      <a:pt x="527801" y="280244"/>
                    </a:lnTo>
                    <a:cubicBezTo>
                      <a:pt x="533620" y="283073"/>
                      <a:pt x="537709" y="289046"/>
                      <a:pt x="537709" y="295962"/>
                    </a:cubicBezTo>
                    <a:cubicBezTo>
                      <a:pt x="537709" y="301856"/>
                      <a:pt x="534721" y="307043"/>
                      <a:pt x="530239" y="310265"/>
                    </a:cubicBezTo>
                    <a:cubicBezTo>
                      <a:pt x="534721" y="312937"/>
                      <a:pt x="537709" y="317731"/>
                      <a:pt x="537709" y="323311"/>
                    </a:cubicBezTo>
                    <a:lnTo>
                      <a:pt x="537709" y="445832"/>
                    </a:lnTo>
                    <a:lnTo>
                      <a:pt x="502717" y="445832"/>
                    </a:lnTo>
                    <a:lnTo>
                      <a:pt x="502717" y="323311"/>
                    </a:lnTo>
                    <a:cubicBezTo>
                      <a:pt x="502717" y="317731"/>
                      <a:pt x="505705" y="312937"/>
                      <a:pt x="510108" y="310265"/>
                    </a:cubicBezTo>
                    <a:cubicBezTo>
                      <a:pt x="505626" y="307043"/>
                      <a:pt x="502638" y="301856"/>
                      <a:pt x="502638" y="295962"/>
                    </a:cubicBezTo>
                    <a:cubicBezTo>
                      <a:pt x="502638" y="288810"/>
                      <a:pt x="506884" y="282759"/>
                      <a:pt x="513018" y="280008"/>
                    </a:cubicBezTo>
                    <a:lnTo>
                      <a:pt x="512546" y="279379"/>
                    </a:lnTo>
                    <a:lnTo>
                      <a:pt x="512546" y="155522"/>
                    </a:lnTo>
                    <a:close/>
                    <a:moveTo>
                      <a:pt x="306663" y="0"/>
                    </a:moveTo>
                    <a:lnTo>
                      <a:pt x="608133" y="115790"/>
                    </a:lnTo>
                    <a:lnTo>
                      <a:pt x="306663" y="215083"/>
                    </a:lnTo>
                    <a:lnTo>
                      <a:pt x="0" y="11579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05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5" name="组合 74"/>
            <p:cNvGrpSpPr/>
            <p:nvPr/>
          </p:nvGrpSpPr>
          <p:grpSpPr>
            <a:xfrm>
              <a:off x="5951458" y="2005332"/>
              <a:ext cx="4878330" cy="510338"/>
              <a:chOff x="6640570" y="2261254"/>
              <a:chExt cx="4878330" cy="510338"/>
            </a:xfrm>
          </p:grpSpPr>
          <p:sp>
            <p:nvSpPr>
              <p:cNvPr id="85" name="矩形 84"/>
              <p:cNvSpPr/>
              <p:nvPr/>
            </p:nvSpPr>
            <p:spPr>
              <a:xfrm>
                <a:off x="6640570" y="2261254"/>
                <a:ext cx="1180239" cy="510338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b="1" dirty="0">
                    <a:solidFill>
                      <a:schemeClr val="tx1"/>
                    </a:solidFill>
                  </a:rPr>
                  <a:t>…</a:t>
                </a:r>
                <a:r>
                  <a:rPr lang="zh-CN" altLang="en-US" sz="1600" b="1" dirty="0">
                    <a:solidFill>
                      <a:schemeClr val="tx1"/>
                    </a:solidFill>
                  </a:rPr>
                  <a:t>目的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矩形 85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7820809" y="2261254"/>
                <a:ext cx="3698091" cy="510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e </a:t>
                </a:r>
                <a:r>
                  <a:rPr lang="en-US" altLang="zh-CN" sz="1100" dirty="0"/>
                  <a:t>the only option to retain text.</a:t>
                </a:r>
              </a:p>
            </p:txBody>
          </p:sp>
        </p:grpSp>
        <p:grpSp>
          <p:nvGrpSpPr>
            <p:cNvPr id="76" name="组合 75"/>
            <p:cNvGrpSpPr/>
            <p:nvPr/>
          </p:nvGrpSpPr>
          <p:grpSpPr>
            <a:xfrm>
              <a:off x="5370676" y="2924031"/>
              <a:ext cx="4878330" cy="510338"/>
              <a:chOff x="6640570" y="2261254"/>
              <a:chExt cx="4878330" cy="510338"/>
            </a:xfrm>
          </p:grpSpPr>
          <p:sp>
            <p:nvSpPr>
              <p:cNvPr id="83" name="矩形 82"/>
              <p:cNvSpPr/>
              <p:nvPr/>
            </p:nvSpPr>
            <p:spPr>
              <a:xfrm>
                <a:off x="6640570" y="2261254"/>
                <a:ext cx="1180239" cy="510338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b="1" dirty="0">
                    <a:solidFill>
                      <a:schemeClr val="tx1"/>
                    </a:solidFill>
                  </a:rPr>
                  <a:t>…</a:t>
                </a:r>
                <a:r>
                  <a:rPr lang="zh-CN" altLang="en-US" sz="1600" b="1" dirty="0">
                    <a:solidFill>
                      <a:schemeClr val="tx1"/>
                    </a:solidFill>
                  </a:rPr>
                  <a:t>目的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矩形 83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7820809" y="2261254"/>
                <a:ext cx="3698091" cy="510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e </a:t>
                </a:r>
                <a:r>
                  <a:rPr lang="en-US" altLang="zh-CN" sz="1100" dirty="0"/>
                  <a:t>the only option to retain text.</a:t>
                </a:r>
              </a:p>
            </p:txBody>
          </p:sp>
        </p:grpSp>
        <p:grpSp>
          <p:nvGrpSpPr>
            <p:cNvPr id="77" name="组合 76"/>
            <p:cNvGrpSpPr/>
            <p:nvPr/>
          </p:nvGrpSpPr>
          <p:grpSpPr>
            <a:xfrm>
              <a:off x="5370676" y="3842730"/>
              <a:ext cx="4878330" cy="510338"/>
              <a:chOff x="6640570" y="2261254"/>
              <a:chExt cx="4878330" cy="510338"/>
            </a:xfrm>
          </p:grpSpPr>
          <p:sp>
            <p:nvSpPr>
              <p:cNvPr id="81" name="矩形 80"/>
              <p:cNvSpPr/>
              <p:nvPr/>
            </p:nvSpPr>
            <p:spPr>
              <a:xfrm>
                <a:off x="6640570" y="2261254"/>
                <a:ext cx="1180239" cy="510338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b="1" dirty="0">
                    <a:solidFill>
                      <a:schemeClr val="tx1"/>
                    </a:solidFill>
                  </a:rPr>
                  <a:t>…</a:t>
                </a:r>
                <a:r>
                  <a:rPr lang="zh-CN" altLang="en-US" sz="1600" b="1" dirty="0">
                    <a:solidFill>
                      <a:schemeClr val="tx1"/>
                    </a:solidFill>
                  </a:rPr>
                  <a:t>目的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矩形 81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7820809" y="2261254"/>
                <a:ext cx="3698091" cy="510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e </a:t>
                </a:r>
                <a:r>
                  <a:rPr lang="en-US" altLang="zh-CN" sz="1100" dirty="0"/>
                  <a:t>the only option to retain text.</a:t>
                </a:r>
              </a:p>
            </p:txBody>
          </p:sp>
        </p:grpSp>
        <p:grpSp>
          <p:nvGrpSpPr>
            <p:cNvPr id="78" name="组合 77"/>
            <p:cNvGrpSpPr/>
            <p:nvPr/>
          </p:nvGrpSpPr>
          <p:grpSpPr>
            <a:xfrm>
              <a:off x="5951458" y="4761430"/>
              <a:ext cx="4878330" cy="510338"/>
              <a:chOff x="6640570" y="2261254"/>
              <a:chExt cx="4878330" cy="510338"/>
            </a:xfrm>
          </p:grpSpPr>
          <p:sp>
            <p:nvSpPr>
              <p:cNvPr id="79" name="矩形 78"/>
              <p:cNvSpPr/>
              <p:nvPr/>
            </p:nvSpPr>
            <p:spPr>
              <a:xfrm>
                <a:off x="6640570" y="2261254"/>
                <a:ext cx="1180239" cy="510338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altLang="zh-CN" sz="1600" b="1" dirty="0">
                    <a:solidFill>
                      <a:schemeClr val="tx1"/>
                    </a:solidFill>
                  </a:rPr>
                  <a:t>…</a:t>
                </a:r>
                <a:r>
                  <a:rPr lang="zh-CN" altLang="en-US" sz="1600" b="1" dirty="0">
                    <a:solidFill>
                      <a:schemeClr val="tx1"/>
                    </a:solidFill>
                  </a:rPr>
                  <a:t>目的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矩形 79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7820809" y="2261254"/>
                <a:ext cx="3698091" cy="510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Choose </a:t>
                </a:r>
                <a:r>
                  <a:rPr lang="en-US" altLang="zh-CN" sz="1100" dirty="0"/>
                  <a:t>the only option to retain tex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7325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0" y="0"/>
            <a:ext cx="12192000" cy="6134100"/>
            <a:chOff x="0" y="0"/>
            <a:chExt cx="12192000" cy="6134100"/>
          </a:xfrm>
        </p:grpSpPr>
        <p:sp>
          <p:nvSpPr>
            <p:cNvPr id="6" name="矩形 5"/>
            <p:cNvSpPr/>
            <p:nvPr/>
          </p:nvSpPr>
          <p:spPr>
            <a:xfrm>
              <a:off x="0" y="0"/>
              <a:ext cx="12192000" cy="10287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5045636" y="1028700"/>
              <a:ext cx="2088028" cy="5105400"/>
              <a:chOff x="5045636" y="1028700"/>
              <a:chExt cx="2088028" cy="5105400"/>
            </a:xfrm>
          </p:grpSpPr>
          <p:sp>
            <p:nvSpPr>
              <p:cNvPr id="32" name="任意多边形: 形状 31"/>
              <p:cNvSpPr/>
              <p:nvPr/>
            </p:nvSpPr>
            <p:spPr bwMode="auto">
              <a:xfrm>
                <a:off x="5422106" y="2845347"/>
                <a:ext cx="1335088" cy="1527175"/>
              </a:xfrm>
              <a:custGeom>
                <a:avLst/>
                <a:gdLst>
                  <a:gd name="T0" fmla="*/ 2491 w 14001"/>
                  <a:gd name="T1" fmla="*/ 13529 h 16020"/>
                  <a:gd name="T2" fmla="*/ 2491 w 14001"/>
                  <a:gd name="T3" fmla="*/ 4510 h 16020"/>
                  <a:gd name="T4" fmla="*/ 7000 w 14001"/>
                  <a:gd name="T5" fmla="*/ 0 h 16020"/>
                  <a:gd name="T6" fmla="*/ 11510 w 14001"/>
                  <a:gd name="T7" fmla="*/ 4510 h 16020"/>
                  <a:gd name="T8" fmla="*/ 11510 w 14001"/>
                  <a:gd name="T9" fmla="*/ 13529 h 16020"/>
                  <a:gd name="T10" fmla="*/ 2491 w 14001"/>
                  <a:gd name="T11" fmla="*/ 13529 h 16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001" h="16020">
                    <a:moveTo>
                      <a:pt x="2491" y="13529"/>
                    </a:moveTo>
                    <a:cubicBezTo>
                      <a:pt x="0" y="11039"/>
                      <a:pt x="0" y="7000"/>
                      <a:pt x="2491" y="4510"/>
                    </a:cubicBezTo>
                    <a:cubicBezTo>
                      <a:pt x="3994" y="3006"/>
                      <a:pt x="5497" y="1503"/>
                      <a:pt x="7000" y="0"/>
                    </a:cubicBezTo>
                    <a:cubicBezTo>
                      <a:pt x="8504" y="1503"/>
                      <a:pt x="10007" y="3006"/>
                      <a:pt x="11510" y="4510"/>
                    </a:cubicBezTo>
                    <a:cubicBezTo>
                      <a:pt x="14001" y="7000"/>
                      <a:pt x="14001" y="11039"/>
                      <a:pt x="11510" y="13529"/>
                    </a:cubicBezTo>
                    <a:cubicBezTo>
                      <a:pt x="9020" y="16020"/>
                      <a:pt x="4981" y="16020"/>
                      <a:pt x="2491" y="13529"/>
                    </a:cubicBezTo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33" name="任意多边形: 形状 32"/>
              <p:cNvSpPr/>
              <p:nvPr/>
            </p:nvSpPr>
            <p:spPr bwMode="auto">
              <a:xfrm>
                <a:off x="5845497" y="3353346"/>
                <a:ext cx="488305" cy="511176"/>
              </a:xfrm>
              <a:custGeom>
                <a:avLst/>
                <a:gdLst>
                  <a:gd name="T0" fmla="*/ 4199 w 4494"/>
                  <a:gd name="T1" fmla="*/ 3838 h 4712"/>
                  <a:gd name="T2" fmla="*/ 3932 w 4494"/>
                  <a:gd name="T3" fmla="*/ 2881 h 4712"/>
                  <a:gd name="T4" fmla="*/ 2447 w 4494"/>
                  <a:gd name="T5" fmla="*/ 2438 h 4712"/>
                  <a:gd name="T6" fmla="*/ 3263 w 4494"/>
                  <a:gd name="T7" fmla="*/ 2440 h 4712"/>
                  <a:gd name="T8" fmla="*/ 3263 w 4494"/>
                  <a:gd name="T9" fmla="*/ 897 h 4712"/>
                  <a:gd name="T10" fmla="*/ 2194 w 4494"/>
                  <a:gd name="T11" fmla="*/ 0 h 4712"/>
                  <a:gd name="T12" fmla="*/ 460 w 4494"/>
                  <a:gd name="T13" fmla="*/ 1619 h 4712"/>
                  <a:gd name="T14" fmla="*/ 2047 w 4494"/>
                  <a:gd name="T15" fmla="*/ 2438 h 4712"/>
                  <a:gd name="T16" fmla="*/ 562 w 4494"/>
                  <a:gd name="T17" fmla="*/ 2881 h 4712"/>
                  <a:gd name="T18" fmla="*/ 296 w 4494"/>
                  <a:gd name="T19" fmla="*/ 3838 h 4712"/>
                  <a:gd name="T20" fmla="*/ 0 w 4494"/>
                  <a:gd name="T21" fmla="*/ 3971 h 4712"/>
                  <a:gd name="T22" fmla="*/ 134 w 4494"/>
                  <a:gd name="T23" fmla="*/ 4712 h 4712"/>
                  <a:gd name="T24" fmla="*/ 991 w 4494"/>
                  <a:gd name="T25" fmla="*/ 4579 h 4712"/>
                  <a:gd name="T26" fmla="*/ 858 w 4494"/>
                  <a:gd name="T27" fmla="*/ 3838 h 4712"/>
                  <a:gd name="T28" fmla="*/ 696 w 4494"/>
                  <a:gd name="T29" fmla="*/ 3281 h 4712"/>
                  <a:gd name="T30" fmla="*/ 2047 w 4494"/>
                  <a:gd name="T31" fmla="*/ 3838 h 4712"/>
                  <a:gd name="T32" fmla="*/ 1752 w 4494"/>
                  <a:gd name="T33" fmla="*/ 3971 h 4712"/>
                  <a:gd name="T34" fmla="*/ 1885 w 4494"/>
                  <a:gd name="T35" fmla="*/ 4712 h 4712"/>
                  <a:gd name="T36" fmla="*/ 2742 w 4494"/>
                  <a:gd name="T37" fmla="*/ 4579 h 4712"/>
                  <a:gd name="T38" fmla="*/ 2609 w 4494"/>
                  <a:gd name="T39" fmla="*/ 3838 h 4712"/>
                  <a:gd name="T40" fmla="*/ 2447 w 4494"/>
                  <a:gd name="T41" fmla="*/ 3281 h 4712"/>
                  <a:gd name="T42" fmla="*/ 3799 w 4494"/>
                  <a:gd name="T43" fmla="*/ 3838 h 4712"/>
                  <a:gd name="T44" fmla="*/ 3503 w 4494"/>
                  <a:gd name="T45" fmla="*/ 3971 h 4712"/>
                  <a:gd name="T46" fmla="*/ 3637 w 4494"/>
                  <a:gd name="T47" fmla="*/ 4712 h 4712"/>
                  <a:gd name="T48" fmla="*/ 4494 w 4494"/>
                  <a:gd name="T49" fmla="*/ 4579 h 4712"/>
                  <a:gd name="T50" fmla="*/ 4360 w 4494"/>
                  <a:gd name="T51" fmla="*/ 3838 h 4712"/>
                  <a:gd name="T52" fmla="*/ 1278 w 4494"/>
                  <a:gd name="T53" fmla="*/ 1201 h 4712"/>
                  <a:gd name="T54" fmla="*/ 1288 w 4494"/>
                  <a:gd name="T55" fmla="*/ 1201 h 4712"/>
                  <a:gd name="T56" fmla="*/ 1311 w 4494"/>
                  <a:gd name="T57" fmla="*/ 1202 h 4712"/>
                  <a:gd name="T58" fmla="*/ 2194 w 4494"/>
                  <a:gd name="T59" fmla="*/ 400 h 4712"/>
                  <a:gd name="T60" fmla="*/ 2858 w 4494"/>
                  <a:gd name="T61" fmla="*/ 1073 h 4712"/>
                  <a:gd name="T62" fmla="*/ 2915 w 4494"/>
                  <a:gd name="T63" fmla="*/ 1252 h 4712"/>
                  <a:gd name="T64" fmla="*/ 3148 w 4494"/>
                  <a:gd name="T65" fmla="*/ 1315 h 4712"/>
                  <a:gd name="T66" fmla="*/ 3634 w 4494"/>
                  <a:gd name="T67" fmla="*/ 1668 h 4712"/>
                  <a:gd name="T68" fmla="*/ 2832 w 4494"/>
                  <a:gd name="T69" fmla="*/ 2039 h 4712"/>
                  <a:gd name="T70" fmla="*/ 1278 w 4494"/>
                  <a:gd name="T71" fmla="*/ 2038 h 4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494" h="4712">
                    <a:moveTo>
                      <a:pt x="4360" y="3838"/>
                    </a:moveTo>
                    <a:lnTo>
                      <a:pt x="4199" y="3838"/>
                    </a:lnTo>
                    <a:lnTo>
                      <a:pt x="4199" y="3148"/>
                    </a:lnTo>
                    <a:cubicBezTo>
                      <a:pt x="4199" y="3001"/>
                      <a:pt x="4079" y="2881"/>
                      <a:pt x="3932" y="2881"/>
                    </a:cubicBezTo>
                    <a:lnTo>
                      <a:pt x="2447" y="2881"/>
                    </a:lnTo>
                    <a:lnTo>
                      <a:pt x="2447" y="2438"/>
                    </a:lnTo>
                    <a:cubicBezTo>
                      <a:pt x="2520" y="2438"/>
                      <a:pt x="2675" y="2438"/>
                      <a:pt x="2831" y="2439"/>
                    </a:cubicBezTo>
                    <a:cubicBezTo>
                      <a:pt x="3043" y="2439"/>
                      <a:pt x="3256" y="2440"/>
                      <a:pt x="3263" y="2440"/>
                    </a:cubicBezTo>
                    <a:cubicBezTo>
                      <a:pt x="3688" y="2440"/>
                      <a:pt x="4034" y="2094"/>
                      <a:pt x="4034" y="1668"/>
                    </a:cubicBezTo>
                    <a:cubicBezTo>
                      <a:pt x="4034" y="1243"/>
                      <a:pt x="3688" y="897"/>
                      <a:pt x="3263" y="897"/>
                    </a:cubicBezTo>
                    <a:cubicBezTo>
                      <a:pt x="3257" y="897"/>
                      <a:pt x="3251" y="897"/>
                      <a:pt x="3245" y="897"/>
                    </a:cubicBezTo>
                    <a:cubicBezTo>
                      <a:pt x="3165" y="389"/>
                      <a:pt x="2724" y="0"/>
                      <a:pt x="2194" y="0"/>
                    </a:cubicBezTo>
                    <a:cubicBezTo>
                      <a:pt x="1698" y="0"/>
                      <a:pt x="1276" y="339"/>
                      <a:pt x="1161" y="809"/>
                    </a:cubicBezTo>
                    <a:cubicBezTo>
                      <a:pt x="765" y="866"/>
                      <a:pt x="460" y="1208"/>
                      <a:pt x="460" y="1619"/>
                    </a:cubicBezTo>
                    <a:cubicBezTo>
                      <a:pt x="460" y="2071"/>
                      <a:pt x="827" y="2438"/>
                      <a:pt x="1278" y="2438"/>
                    </a:cubicBezTo>
                    <a:lnTo>
                      <a:pt x="2047" y="2438"/>
                    </a:lnTo>
                    <a:lnTo>
                      <a:pt x="2047" y="2881"/>
                    </a:lnTo>
                    <a:lnTo>
                      <a:pt x="562" y="2881"/>
                    </a:lnTo>
                    <a:cubicBezTo>
                      <a:pt x="415" y="2881"/>
                      <a:pt x="296" y="3001"/>
                      <a:pt x="296" y="3148"/>
                    </a:cubicBezTo>
                    <a:lnTo>
                      <a:pt x="296" y="3838"/>
                    </a:lnTo>
                    <a:lnTo>
                      <a:pt x="134" y="3838"/>
                    </a:lnTo>
                    <a:cubicBezTo>
                      <a:pt x="60" y="3838"/>
                      <a:pt x="0" y="3897"/>
                      <a:pt x="0" y="3971"/>
                    </a:cubicBezTo>
                    <a:lnTo>
                      <a:pt x="0" y="4579"/>
                    </a:lnTo>
                    <a:cubicBezTo>
                      <a:pt x="0" y="4652"/>
                      <a:pt x="60" y="4712"/>
                      <a:pt x="134" y="4712"/>
                    </a:cubicBezTo>
                    <a:lnTo>
                      <a:pt x="858" y="4712"/>
                    </a:lnTo>
                    <a:cubicBezTo>
                      <a:pt x="931" y="4712"/>
                      <a:pt x="991" y="4652"/>
                      <a:pt x="991" y="4579"/>
                    </a:cubicBezTo>
                    <a:lnTo>
                      <a:pt x="991" y="3971"/>
                    </a:lnTo>
                    <a:cubicBezTo>
                      <a:pt x="991" y="3897"/>
                      <a:pt x="931" y="3838"/>
                      <a:pt x="858" y="3838"/>
                    </a:cubicBezTo>
                    <a:lnTo>
                      <a:pt x="696" y="3838"/>
                    </a:lnTo>
                    <a:lnTo>
                      <a:pt x="696" y="3281"/>
                    </a:lnTo>
                    <a:lnTo>
                      <a:pt x="2047" y="3281"/>
                    </a:lnTo>
                    <a:lnTo>
                      <a:pt x="2047" y="3838"/>
                    </a:lnTo>
                    <a:lnTo>
                      <a:pt x="1885" y="3838"/>
                    </a:lnTo>
                    <a:cubicBezTo>
                      <a:pt x="1812" y="3838"/>
                      <a:pt x="1752" y="3897"/>
                      <a:pt x="1752" y="3971"/>
                    </a:cubicBezTo>
                    <a:lnTo>
                      <a:pt x="1752" y="4579"/>
                    </a:lnTo>
                    <a:cubicBezTo>
                      <a:pt x="1752" y="4652"/>
                      <a:pt x="1812" y="4712"/>
                      <a:pt x="1885" y="4712"/>
                    </a:cubicBezTo>
                    <a:lnTo>
                      <a:pt x="2609" y="4712"/>
                    </a:lnTo>
                    <a:cubicBezTo>
                      <a:pt x="2682" y="4712"/>
                      <a:pt x="2742" y="4652"/>
                      <a:pt x="2742" y="4579"/>
                    </a:cubicBezTo>
                    <a:lnTo>
                      <a:pt x="2742" y="3971"/>
                    </a:lnTo>
                    <a:cubicBezTo>
                      <a:pt x="2742" y="3897"/>
                      <a:pt x="2682" y="3838"/>
                      <a:pt x="2609" y="3838"/>
                    </a:cubicBezTo>
                    <a:lnTo>
                      <a:pt x="2447" y="3838"/>
                    </a:lnTo>
                    <a:lnTo>
                      <a:pt x="2447" y="3281"/>
                    </a:lnTo>
                    <a:lnTo>
                      <a:pt x="3799" y="3281"/>
                    </a:lnTo>
                    <a:lnTo>
                      <a:pt x="3799" y="3838"/>
                    </a:lnTo>
                    <a:lnTo>
                      <a:pt x="3637" y="3838"/>
                    </a:lnTo>
                    <a:cubicBezTo>
                      <a:pt x="3563" y="3838"/>
                      <a:pt x="3503" y="3897"/>
                      <a:pt x="3503" y="3971"/>
                    </a:cubicBezTo>
                    <a:lnTo>
                      <a:pt x="3503" y="4579"/>
                    </a:lnTo>
                    <a:cubicBezTo>
                      <a:pt x="3503" y="4652"/>
                      <a:pt x="3563" y="4712"/>
                      <a:pt x="3637" y="4712"/>
                    </a:cubicBezTo>
                    <a:lnTo>
                      <a:pt x="4360" y="4712"/>
                    </a:lnTo>
                    <a:cubicBezTo>
                      <a:pt x="4434" y="4712"/>
                      <a:pt x="4494" y="4652"/>
                      <a:pt x="4494" y="4579"/>
                    </a:cubicBezTo>
                    <a:lnTo>
                      <a:pt x="4494" y="3971"/>
                    </a:lnTo>
                    <a:cubicBezTo>
                      <a:pt x="4494" y="3897"/>
                      <a:pt x="4434" y="3838"/>
                      <a:pt x="4360" y="3838"/>
                    </a:cubicBezTo>
                    <a:close/>
                    <a:moveTo>
                      <a:pt x="860" y="1619"/>
                    </a:moveTo>
                    <a:cubicBezTo>
                      <a:pt x="860" y="1389"/>
                      <a:pt x="1048" y="1201"/>
                      <a:pt x="1278" y="1201"/>
                    </a:cubicBezTo>
                    <a:lnTo>
                      <a:pt x="1283" y="1201"/>
                    </a:lnTo>
                    <a:cubicBezTo>
                      <a:pt x="1284" y="1201"/>
                      <a:pt x="1286" y="1201"/>
                      <a:pt x="1288" y="1201"/>
                    </a:cubicBezTo>
                    <a:cubicBezTo>
                      <a:pt x="1288" y="1201"/>
                      <a:pt x="1289" y="1201"/>
                      <a:pt x="1290" y="1201"/>
                    </a:cubicBezTo>
                    <a:cubicBezTo>
                      <a:pt x="1297" y="1202"/>
                      <a:pt x="1304" y="1202"/>
                      <a:pt x="1311" y="1202"/>
                    </a:cubicBezTo>
                    <a:cubicBezTo>
                      <a:pt x="1408" y="1202"/>
                      <a:pt x="1519" y="1136"/>
                      <a:pt x="1534" y="992"/>
                    </a:cubicBezTo>
                    <a:cubicBezTo>
                      <a:pt x="1571" y="654"/>
                      <a:pt x="1854" y="400"/>
                      <a:pt x="2194" y="400"/>
                    </a:cubicBezTo>
                    <a:cubicBezTo>
                      <a:pt x="2560" y="400"/>
                      <a:pt x="2858" y="698"/>
                      <a:pt x="2858" y="1064"/>
                    </a:cubicBezTo>
                    <a:lnTo>
                      <a:pt x="2858" y="1073"/>
                    </a:lnTo>
                    <a:cubicBezTo>
                      <a:pt x="2858" y="1074"/>
                      <a:pt x="2858" y="1076"/>
                      <a:pt x="2858" y="1078"/>
                    </a:cubicBezTo>
                    <a:cubicBezTo>
                      <a:pt x="2853" y="1144"/>
                      <a:pt x="2873" y="1205"/>
                      <a:pt x="2915" y="1252"/>
                    </a:cubicBezTo>
                    <a:cubicBezTo>
                      <a:pt x="2957" y="1299"/>
                      <a:pt x="3017" y="1325"/>
                      <a:pt x="3080" y="1325"/>
                    </a:cubicBezTo>
                    <a:cubicBezTo>
                      <a:pt x="3103" y="1325"/>
                      <a:pt x="3126" y="1322"/>
                      <a:pt x="3148" y="1315"/>
                    </a:cubicBezTo>
                    <a:cubicBezTo>
                      <a:pt x="3185" y="1303"/>
                      <a:pt x="3224" y="1297"/>
                      <a:pt x="3263" y="1297"/>
                    </a:cubicBezTo>
                    <a:cubicBezTo>
                      <a:pt x="3468" y="1297"/>
                      <a:pt x="3634" y="1463"/>
                      <a:pt x="3634" y="1668"/>
                    </a:cubicBezTo>
                    <a:cubicBezTo>
                      <a:pt x="3634" y="1873"/>
                      <a:pt x="3468" y="2040"/>
                      <a:pt x="3263" y="2040"/>
                    </a:cubicBezTo>
                    <a:cubicBezTo>
                      <a:pt x="3255" y="2040"/>
                      <a:pt x="3043" y="2039"/>
                      <a:pt x="2832" y="2039"/>
                    </a:cubicBezTo>
                    <a:cubicBezTo>
                      <a:pt x="2621" y="2038"/>
                      <a:pt x="2411" y="2038"/>
                      <a:pt x="2405" y="2038"/>
                    </a:cubicBezTo>
                    <a:lnTo>
                      <a:pt x="1278" y="2038"/>
                    </a:lnTo>
                    <a:cubicBezTo>
                      <a:pt x="1048" y="2038"/>
                      <a:pt x="860" y="1850"/>
                      <a:pt x="860" y="1619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34" name="组合 33"/>
              <p:cNvGrpSpPr/>
              <p:nvPr/>
            </p:nvGrpSpPr>
            <p:grpSpPr>
              <a:xfrm>
                <a:off x="5045636" y="4372522"/>
                <a:ext cx="2088028" cy="1761578"/>
                <a:chOff x="660400" y="4210597"/>
                <a:chExt cx="2088028" cy="1761578"/>
              </a:xfrm>
            </p:grpSpPr>
            <p:sp>
              <p:nvSpPr>
                <p:cNvPr id="36" name="矩形 35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660401" y="4210597"/>
                  <a:ext cx="2088027" cy="540405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800" b="1" dirty="0">
                      <a:solidFill>
                        <a:schemeClr val="tx1"/>
                      </a:solidFill>
                    </a:rPr>
                    <a:t>…</a:t>
                  </a:r>
                  <a:r>
                    <a:rPr lang="zh-CN" altLang="en-US" sz="1800" b="1" dirty="0">
                      <a:solidFill>
                        <a:schemeClr val="tx1"/>
                      </a:solidFill>
                    </a:rPr>
                    <a:t>意义</a:t>
                  </a:r>
                </a:p>
              </p:txBody>
            </p:sp>
            <p:sp>
              <p:nvSpPr>
                <p:cNvPr id="37" name="文本框 36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660400" y="4751002"/>
                  <a:ext cx="2088028" cy="1221173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/>
                    <a:t>Supporting t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ext </a:t>
                  </a:r>
                  <a:r>
                    <a:rPr lang="en-US" altLang="zh-CN" sz="1100" dirty="0"/>
                    <a:t>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  <p:cxnSp>
            <p:nvCxnSpPr>
              <p:cNvPr id="35" name="直接连接符 34"/>
              <p:cNvCxnSpPr/>
              <p:nvPr/>
            </p:nvCxnSpPr>
            <p:spPr>
              <a:xfrm flipV="1">
                <a:off x="6089602" y="1028700"/>
                <a:ext cx="0" cy="1816647"/>
              </a:xfrm>
              <a:prstGeom prst="line">
                <a:avLst/>
              </a:prstGeom>
              <a:ln w="3175" cap="rnd">
                <a:solidFill>
                  <a:schemeClr val="accent1"/>
                </a:solidFill>
                <a:round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组合 7"/>
            <p:cNvGrpSpPr/>
            <p:nvPr/>
          </p:nvGrpSpPr>
          <p:grpSpPr>
            <a:xfrm>
              <a:off x="660400" y="1028700"/>
              <a:ext cx="2088028" cy="4581252"/>
              <a:chOff x="660400" y="1028700"/>
              <a:chExt cx="2088028" cy="4581252"/>
            </a:xfrm>
          </p:grpSpPr>
          <p:sp>
            <p:nvSpPr>
              <p:cNvPr id="27" name="任意多边形: 形状 26"/>
              <p:cNvSpPr/>
              <p:nvPr/>
            </p:nvSpPr>
            <p:spPr bwMode="auto">
              <a:xfrm>
                <a:off x="1036870" y="2321199"/>
                <a:ext cx="1335088" cy="1527175"/>
              </a:xfrm>
              <a:custGeom>
                <a:avLst/>
                <a:gdLst>
                  <a:gd name="T0" fmla="*/ 2491 w 14001"/>
                  <a:gd name="T1" fmla="*/ 13529 h 16020"/>
                  <a:gd name="T2" fmla="*/ 2491 w 14001"/>
                  <a:gd name="T3" fmla="*/ 4510 h 16020"/>
                  <a:gd name="T4" fmla="*/ 7000 w 14001"/>
                  <a:gd name="T5" fmla="*/ 0 h 16020"/>
                  <a:gd name="T6" fmla="*/ 11510 w 14001"/>
                  <a:gd name="T7" fmla="*/ 4510 h 16020"/>
                  <a:gd name="T8" fmla="*/ 11510 w 14001"/>
                  <a:gd name="T9" fmla="*/ 13529 h 16020"/>
                  <a:gd name="T10" fmla="*/ 2491 w 14001"/>
                  <a:gd name="T11" fmla="*/ 13529 h 16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001" h="16020">
                    <a:moveTo>
                      <a:pt x="2491" y="13529"/>
                    </a:moveTo>
                    <a:cubicBezTo>
                      <a:pt x="0" y="11039"/>
                      <a:pt x="0" y="7000"/>
                      <a:pt x="2491" y="4510"/>
                    </a:cubicBezTo>
                    <a:cubicBezTo>
                      <a:pt x="3994" y="3006"/>
                      <a:pt x="5497" y="1503"/>
                      <a:pt x="7000" y="0"/>
                    </a:cubicBezTo>
                    <a:cubicBezTo>
                      <a:pt x="8504" y="1503"/>
                      <a:pt x="10007" y="3006"/>
                      <a:pt x="11510" y="4510"/>
                    </a:cubicBezTo>
                    <a:cubicBezTo>
                      <a:pt x="14001" y="7000"/>
                      <a:pt x="14001" y="11039"/>
                      <a:pt x="11510" y="13529"/>
                    </a:cubicBezTo>
                    <a:cubicBezTo>
                      <a:pt x="9020" y="16020"/>
                      <a:pt x="4981" y="16020"/>
                      <a:pt x="2491" y="13529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/>
              </a:p>
            </p:txBody>
          </p:sp>
          <p:sp>
            <p:nvSpPr>
              <p:cNvPr id="28" name="任意多边形: 形状 27"/>
              <p:cNvSpPr/>
              <p:nvPr/>
            </p:nvSpPr>
            <p:spPr bwMode="auto">
              <a:xfrm>
                <a:off x="1448826" y="2835311"/>
                <a:ext cx="511176" cy="498950"/>
              </a:xfrm>
              <a:custGeom>
                <a:avLst/>
                <a:gdLst>
                  <a:gd name="connsiteX0" fmla="*/ 156242 w 548675"/>
                  <a:gd name="connsiteY0" fmla="*/ 232482 h 535553"/>
                  <a:gd name="connsiteX1" fmla="*/ 214187 w 548675"/>
                  <a:gd name="connsiteY1" fmla="*/ 256837 h 535553"/>
                  <a:gd name="connsiteX2" fmla="*/ 168993 w 548675"/>
                  <a:gd name="connsiteY2" fmla="*/ 300709 h 535553"/>
                  <a:gd name="connsiteX3" fmla="*/ 127674 w 548675"/>
                  <a:gd name="connsiteY3" fmla="*/ 312322 h 535553"/>
                  <a:gd name="connsiteX4" fmla="*/ 81189 w 548675"/>
                  <a:gd name="connsiteY4" fmla="*/ 357485 h 535553"/>
                  <a:gd name="connsiteX5" fmla="*/ 81189 w 548675"/>
                  <a:gd name="connsiteY5" fmla="*/ 414260 h 535553"/>
                  <a:gd name="connsiteX6" fmla="*/ 123800 w 548675"/>
                  <a:gd name="connsiteY6" fmla="*/ 456842 h 535553"/>
                  <a:gd name="connsiteX7" fmla="*/ 180615 w 548675"/>
                  <a:gd name="connsiteY7" fmla="*/ 456842 h 535553"/>
                  <a:gd name="connsiteX8" fmla="*/ 227099 w 548675"/>
                  <a:gd name="connsiteY8" fmla="*/ 411680 h 535553"/>
                  <a:gd name="connsiteX9" fmla="*/ 240012 w 548675"/>
                  <a:gd name="connsiteY9" fmla="*/ 370388 h 535553"/>
                  <a:gd name="connsiteX10" fmla="*/ 285205 w 548675"/>
                  <a:gd name="connsiteY10" fmla="*/ 326516 h 535553"/>
                  <a:gd name="connsiteX11" fmla="*/ 285205 w 548675"/>
                  <a:gd name="connsiteY11" fmla="*/ 440068 h 535553"/>
                  <a:gd name="connsiteX12" fmla="*/ 210313 w 548675"/>
                  <a:gd name="connsiteY12" fmla="*/ 512327 h 535553"/>
                  <a:gd name="connsiteX13" fmla="*/ 95392 w 548675"/>
                  <a:gd name="connsiteY13" fmla="*/ 512327 h 535553"/>
                  <a:gd name="connsiteX14" fmla="*/ 23083 w 548675"/>
                  <a:gd name="connsiteY14" fmla="*/ 441358 h 535553"/>
                  <a:gd name="connsiteX15" fmla="*/ 24374 w 548675"/>
                  <a:gd name="connsiteY15" fmla="*/ 329097 h 535553"/>
                  <a:gd name="connsiteX16" fmla="*/ 99266 w 548675"/>
                  <a:gd name="connsiteY16" fmla="*/ 255547 h 535553"/>
                  <a:gd name="connsiteX17" fmla="*/ 156242 w 548675"/>
                  <a:gd name="connsiteY17" fmla="*/ 232482 h 535553"/>
                  <a:gd name="connsiteX18" fmla="*/ 339490 w 548675"/>
                  <a:gd name="connsiteY18" fmla="*/ 176395 h 535553"/>
                  <a:gd name="connsiteX19" fmla="*/ 358873 w 548675"/>
                  <a:gd name="connsiteY19" fmla="*/ 184615 h 535553"/>
                  <a:gd name="connsiteX20" fmla="*/ 358873 w 548675"/>
                  <a:gd name="connsiteY20" fmla="*/ 223297 h 535553"/>
                  <a:gd name="connsiteX21" fmla="*/ 229652 w 548675"/>
                  <a:gd name="connsiteY21" fmla="*/ 349656 h 535553"/>
                  <a:gd name="connsiteX22" fmla="*/ 192178 w 548675"/>
                  <a:gd name="connsiteY22" fmla="*/ 349656 h 535553"/>
                  <a:gd name="connsiteX23" fmla="*/ 192178 w 548675"/>
                  <a:gd name="connsiteY23" fmla="*/ 312264 h 535553"/>
                  <a:gd name="connsiteX24" fmla="*/ 320107 w 548675"/>
                  <a:gd name="connsiteY24" fmla="*/ 184615 h 535553"/>
                  <a:gd name="connsiteX25" fmla="*/ 339490 w 548675"/>
                  <a:gd name="connsiteY25" fmla="*/ 176395 h 535553"/>
                  <a:gd name="connsiteX26" fmla="*/ 399515 w 548675"/>
                  <a:gd name="connsiteY26" fmla="*/ 2 h 535553"/>
                  <a:gd name="connsiteX27" fmla="*/ 455692 w 548675"/>
                  <a:gd name="connsiteY27" fmla="*/ 23378 h 535553"/>
                  <a:gd name="connsiteX28" fmla="*/ 525430 w 548675"/>
                  <a:gd name="connsiteY28" fmla="*/ 93022 h 535553"/>
                  <a:gd name="connsiteX29" fmla="*/ 525430 w 548675"/>
                  <a:gd name="connsiteY29" fmla="*/ 202648 h 535553"/>
                  <a:gd name="connsiteX30" fmla="*/ 447943 w 548675"/>
                  <a:gd name="connsiteY30" fmla="*/ 278741 h 535553"/>
                  <a:gd name="connsiteX31" fmla="*/ 334297 w 548675"/>
                  <a:gd name="connsiteY31" fmla="*/ 278741 h 535553"/>
                  <a:gd name="connsiteX32" fmla="*/ 378206 w 548675"/>
                  <a:gd name="connsiteY32" fmla="*/ 236180 h 535553"/>
                  <a:gd name="connsiteX33" fmla="*/ 419532 w 548675"/>
                  <a:gd name="connsiteY33" fmla="*/ 223283 h 535553"/>
                  <a:gd name="connsiteX34" fmla="*/ 468606 w 548675"/>
                  <a:gd name="connsiteY34" fmla="*/ 175564 h 535553"/>
                  <a:gd name="connsiteX35" fmla="*/ 469898 w 548675"/>
                  <a:gd name="connsiteY35" fmla="*/ 120106 h 535553"/>
                  <a:gd name="connsiteX36" fmla="*/ 427280 w 548675"/>
                  <a:gd name="connsiteY36" fmla="*/ 78836 h 535553"/>
                  <a:gd name="connsiteX37" fmla="*/ 370457 w 548675"/>
                  <a:gd name="connsiteY37" fmla="*/ 77546 h 535553"/>
                  <a:gd name="connsiteX38" fmla="*/ 321383 w 548675"/>
                  <a:gd name="connsiteY38" fmla="*/ 126555 h 535553"/>
                  <a:gd name="connsiteX39" fmla="*/ 308468 w 548675"/>
                  <a:gd name="connsiteY39" fmla="*/ 166536 h 535553"/>
                  <a:gd name="connsiteX40" fmla="*/ 264559 w 548675"/>
                  <a:gd name="connsiteY40" fmla="*/ 209097 h 535553"/>
                  <a:gd name="connsiteX41" fmla="*/ 264559 w 548675"/>
                  <a:gd name="connsiteY41" fmla="*/ 98181 h 535553"/>
                  <a:gd name="connsiteX42" fmla="*/ 343337 w 548675"/>
                  <a:gd name="connsiteY42" fmla="*/ 22088 h 535553"/>
                  <a:gd name="connsiteX43" fmla="*/ 399515 w 548675"/>
                  <a:gd name="connsiteY43" fmla="*/ 2 h 535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548675" h="535553">
                    <a:moveTo>
                      <a:pt x="156242" y="232482"/>
                    </a:moveTo>
                    <a:cubicBezTo>
                      <a:pt x="177064" y="232643"/>
                      <a:pt x="198046" y="240708"/>
                      <a:pt x="214187" y="256837"/>
                    </a:cubicBezTo>
                    <a:lnTo>
                      <a:pt x="168993" y="300709"/>
                    </a:lnTo>
                    <a:cubicBezTo>
                      <a:pt x="154790" y="295548"/>
                      <a:pt x="139295" y="301999"/>
                      <a:pt x="127674" y="312322"/>
                    </a:cubicBezTo>
                    <a:lnTo>
                      <a:pt x="81189" y="357485"/>
                    </a:lnTo>
                    <a:cubicBezTo>
                      <a:pt x="65694" y="372969"/>
                      <a:pt x="65694" y="398776"/>
                      <a:pt x="81189" y="414260"/>
                    </a:cubicBezTo>
                    <a:lnTo>
                      <a:pt x="123800" y="456842"/>
                    </a:lnTo>
                    <a:cubicBezTo>
                      <a:pt x="139295" y="472326"/>
                      <a:pt x="165120" y="472326"/>
                      <a:pt x="180615" y="456842"/>
                    </a:cubicBezTo>
                    <a:lnTo>
                      <a:pt x="227099" y="411680"/>
                    </a:lnTo>
                    <a:cubicBezTo>
                      <a:pt x="238720" y="401357"/>
                      <a:pt x="243885" y="383292"/>
                      <a:pt x="240012" y="370388"/>
                    </a:cubicBezTo>
                    <a:lnTo>
                      <a:pt x="285205" y="326516"/>
                    </a:lnTo>
                    <a:cubicBezTo>
                      <a:pt x="316195" y="358775"/>
                      <a:pt x="316195" y="409099"/>
                      <a:pt x="285205" y="440068"/>
                    </a:cubicBezTo>
                    <a:lnTo>
                      <a:pt x="210313" y="512327"/>
                    </a:lnTo>
                    <a:cubicBezTo>
                      <a:pt x="178032" y="543296"/>
                      <a:pt x="126382" y="543296"/>
                      <a:pt x="95392" y="512327"/>
                    </a:cubicBezTo>
                    <a:lnTo>
                      <a:pt x="23083" y="441358"/>
                    </a:lnTo>
                    <a:cubicBezTo>
                      <a:pt x="-7907" y="410389"/>
                      <a:pt x="-7907" y="360065"/>
                      <a:pt x="24374" y="329097"/>
                    </a:cubicBezTo>
                    <a:lnTo>
                      <a:pt x="99266" y="255547"/>
                    </a:lnTo>
                    <a:cubicBezTo>
                      <a:pt x="114761" y="240063"/>
                      <a:pt x="135421" y="232320"/>
                      <a:pt x="156242" y="232482"/>
                    </a:cubicBezTo>
                    <a:close/>
                    <a:moveTo>
                      <a:pt x="339490" y="176395"/>
                    </a:moveTo>
                    <a:cubicBezTo>
                      <a:pt x="346597" y="176557"/>
                      <a:pt x="353704" y="179458"/>
                      <a:pt x="358873" y="184615"/>
                    </a:cubicBezTo>
                    <a:cubicBezTo>
                      <a:pt x="369211" y="194930"/>
                      <a:pt x="369211" y="211692"/>
                      <a:pt x="358873" y="223297"/>
                    </a:cubicBezTo>
                    <a:lnTo>
                      <a:pt x="229652" y="349656"/>
                    </a:lnTo>
                    <a:cubicBezTo>
                      <a:pt x="219314" y="361260"/>
                      <a:pt x="202516" y="361260"/>
                      <a:pt x="192178" y="349656"/>
                    </a:cubicBezTo>
                    <a:cubicBezTo>
                      <a:pt x="180548" y="339341"/>
                      <a:pt x="180548" y="322579"/>
                      <a:pt x="192178" y="312264"/>
                    </a:cubicBezTo>
                    <a:lnTo>
                      <a:pt x="320107" y="184615"/>
                    </a:lnTo>
                    <a:cubicBezTo>
                      <a:pt x="325276" y="178813"/>
                      <a:pt x="332383" y="176234"/>
                      <a:pt x="339490" y="176395"/>
                    </a:cubicBezTo>
                    <a:close/>
                    <a:moveTo>
                      <a:pt x="399515" y="2"/>
                    </a:moveTo>
                    <a:cubicBezTo>
                      <a:pt x="419855" y="163"/>
                      <a:pt x="440195" y="7902"/>
                      <a:pt x="455692" y="23378"/>
                    </a:cubicBezTo>
                    <a:lnTo>
                      <a:pt x="525430" y="93022"/>
                    </a:lnTo>
                    <a:cubicBezTo>
                      <a:pt x="556424" y="122686"/>
                      <a:pt x="556424" y="172985"/>
                      <a:pt x="525430" y="202648"/>
                    </a:cubicBezTo>
                    <a:lnTo>
                      <a:pt x="447943" y="278741"/>
                    </a:lnTo>
                    <a:cubicBezTo>
                      <a:pt x="416949" y="309694"/>
                      <a:pt x="365291" y="309694"/>
                      <a:pt x="334297" y="278741"/>
                    </a:cubicBezTo>
                    <a:lnTo>
                      <a:pt x="378206" y="236180"/>
                    </a:lnTo>
                    <a:cubicBezTo>
                      <a:pt x="392412" y="238760"/>
                      <a:pt x="409200" y="233601"/>
                      <a:pt x="419532" y="223283"/>
                    </a:cubicBezTo>
                    <a:lnTo>
                      <a:pt x="468606" y="175564"/>
                    </a:lnTo>
                    <a:cubicBezTo>
                      <a:pt x="484104" y="160087"/>
                      <a:pt x="485395" y="135583"/>
                      <a:pt x="469898" y="120106"/>
                    </a:cubicBezTo>
                    <a:lnTo>
                      <a:pt x="427280" y="78836"/>
                    </a:lnTo>
                    <a:cubicBezTo>
                      <a:pt x="411783" y="63359"/>
                      <a:pt x="385954" y="63359"/>
                      <a:pt x="370457" y="77546"/>
                    </a:cubicBezTo>
                    <a:lnTo>
                      <a:pt x="321383" y="126555"/>
                    </a:lnTo>
                    <a:cubicBezTo>
                      <a:pt x="309760" y="136873"/>
                      <a:pt x="304594" y="152349"/>
                      <a:pt x="308468" y="166536"/>
                    </a:cubicBezTo>
                    <a:lnTo>
                      <a:pt x="264559" y="209097"/>
                    </a:lnTo>
                    <a:cubicBezTo>
                      <a:pt x="233565" y="178143"/>
                      <a:pt x="233565" y="129134"/>
                      <a:pt x="264559" y="98181"/>
                    </a:cubicBezTo>
                    <a:lnTo>
                      <a:pt x="343337" y="22088"/>
                    </a:lnTo>
                    <a:cubicBezTo>
                      <a:pt x="358834" y="7257"/>
                      <a:pt x="379174" y="-159"/>
                      <a:pt x="39951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660401" y="3848374"/>
                <a:ext cx="2088027" cy="540405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20000"/>
                  </a:lnSpc>
                </a:pPr>
                <a:r>
                  <a:rPr lang="en-US" altLang="zh-CN" sz="1800" b="1" dirty="0">
                    <a:solidFill>
                      <a:schemeClr val="tx1"/>
                    </a:solidFill>
                  </a:rPr>
                  <a:t>…</a:t>
                </a:r>
                <a:r>
                  <a:rPr lang="zh-CN" altLang="en-US" sz="1800" b="1" dirty="0">
                    <a:solidFill>
                      <a:schemeClr val="tx1"/>
                    </a:solidFill>
                  </a:rPr>
                  <a:t>意义</a:t>
                </a:r>
              </a:p>
            </p:txBody>
          </p:sp>
          <p:sp>
            <p:nvSpPr>
              <p:cNvPr id="30" name="文本框 29">
                <a:extLst>
                  <a:ext uri="{FF2B5EF4-FFF2-40B4-BE49-F238E27FC236}">
                    <a16:creationId xmlns:a16="http://schemas.microsoft.com/office/drawing/2014/main" id="{B40F5E8D-FBEB-4054-86D5-66BEF7C4392C}"/>
                  </a:ext>
                </a:extLst>
              </p:cNvPr>
              <p:cNvSpPr txBox="1"/>
              <p:nvPr/>
            </p:nvSpPr>
            <p:spPr>
              <a:xfrm>
                <a:off x="660400" y="4388779"/>
                <a:ext cx="2088028" cy="12211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Supporting t</a:t>
                </a:r>
                <a:r>
                  <a:rPr lang="en-US" altLang="zh-CN" sz="100" dirty="0"/>
                  <a:t> </a:t>
                </a:r>
                <a:r>
                  <a:rPr lang="en-US" altLang="zh-CN" sz="1100" dirty="0" err="1"/>
                  <a:t>ext</a:t>
                </a:r>
                <a:r>
                  <a:rPr lang="en-US" altLang="zh-CN" sz="1100" dirty="0"/>
                  <a:t>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cxnSp>
            <p:nvCxnSpPr>
              <p:cNvPr id="31" name="直接连接符 30"/>
              <p:cNvCxnSpPr>
                <a:stCxn id="27" idx="2"/>
              </p:cNvCxnSpPr>
              <p:nvPr/>
            </p:nvCxnSpPr>
            <p:spPr>
              <a:xfrm flipV="1">
                <a:off x="1704366" y="1028700"/>
                <a:ext cx="48" cy="1292499"/>
              </a:xfrm>
              <a:prstGeom prst="line">
                <a:avLst/>
              </a:prstGeom>
              <a:ln w="3175" cap="rnd">
                <a:solidFill>
                  <a:schemeClr val="tx1">
                    <a:lumMod val="50000"/>
                    <a:lumOff val="50000"/>
                  </a:schemeClr>
                </a:solidFill>
                <a:round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组合 8"/>
            <p:cNvGrpSpPr/>
            <p:nvPr/>
          </p:nvGrpSpPr>
          <p:grpSpPr>
            <a:xfrm>
              <a:off x="2853018" y="1028700"/>
              <a:ext cx="2088028" cy="4581252"/>
              <a:chOff x="2853018" y="1028700"/>
              <a:chExt cx="2088028" cy="4581252"/>
            </a:xfrm>
          </p:grpSpPr>
          <p:sp>
            <p:nvSpPr>
              <p:cNvPr id="22" name="任意多边形: 形状 21"/>
              <p:cNvSpPr/>
              <p:nvPr/>
            </p:nvSpPr>
            <p:spPr bwMode="auto">
              <a:xfrm>
                <a:off x="3229488" y="2321199"/>
                <a:ext cx="1335088" cy="1527175"/>
              </a:xfrm>
              <a:custGeom>
                <a:avLst/>
                <a:gdLst>
                  <a:gd name="T0" fmla="*/ 2491 w 14001"/>
                  <a:gd name="T1" fmla="*/ 13529 h 16020"/>
                  <a:gd name="T2" fmla="*/ 2491 w 14001"/>
                  <a:gd name="T3" fmla="*/ 4510 h 16020"/>
                  <a:gd name="T4" fmla="*/ 7000 w 14001"/>
                  <a:gd name="T5" fmla="*/ 0 h 16020"/>
                  <a:gd name="T6" fmla="*/ 11510 w 14001"/>
                  <a:gd name="T7" fmla="*/ 4510 h 16020"/>
                  <a:gd name="T8" fmla="*/ 11510 w 14001"/>
                  <a:gd name="T9" fmla="*/ 13529 h 16020"/>
                  <a:gd name="T10" fmla="*/ 2491 w 14001"/>
                  <a:gd name="T11" fmla="*/ 13529 h 16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001" h="16020">
                    <a:moveTo>
                      <a:pt x="2491" y="13529"/>
                    </a:moveTo>
                    <a:cubicBezTo>
                      <a:pt x="0" y="11039"/>
                      <a:pt x="0" y="7000"/>
                      <a:pt x="2491" y="4510"/>
                    </a:cubicBezTo>
                    <a:cubicBezTo>
                      <a:pt x="3994" y="3006"/>
                      <a:pt x="5497" y="1503"/>
                      <a:pt x="7000" y="0"/>
                    </a:cubicBezTo>
                    <a:cubicBezTo>
                      <a:pt x="8504" y="1503"/>
                      <a:pt x="10007" y="3006"/>
                      <a:pt x="11510" y="4510"/>
                    </a:cubicBezTo>
                    <a:cubicBezTo>
                      <a:pt x="14001" y="7000"/>
                      <a:pt x="14001" y="11039"/>
                      <a:pt x="11510" y="13529"/>
                    </a:cubicBezTo>
                    <a:cubicBezTo>
                      <a:pt x="9020" y="16020"/>
                      <a:pt x="4981" y="16020"/>
                      <a:pt x="2491" y="13529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/>
              </a:p>
            </p:txBody>
          </p:sp>
          <p:sp>
            <p:nvSpPr>
              <p:cNvPr id="23" name="任意多边形: 形状 22"/>
              <p:cNvSpPr/>
              <p:nvPr/>
            </p:nvSpPr>
            <p:spPr bwMode="auto">
              <a:xfrm>
                <a:off x="3670246" y="2829198"/>
                <a:ext cx="453572" cy="511176"/>
              </a:xfrm>
              <a:custGeom>
                <a:avLst/>
                <a:gdLst>
                  <a:gd name="connsiteX0" fmla="*/ 341771 w 538414"/>
                  <a:gd name="connsiteY0" fmla="*/ 44738 h 606792"/>
                  <a:gd name="connsiteX1" fmla="*/ 538414 w 538414"/>
                  <a:gd name="connsiteY1" fmla="*/ 303537 h 606792"/>
                  <a:gd name="connsiteX2" fmla="*/ 307453 w 538414"/>
                  <a:gd name="connsiteY2" fmla="*/ 569462 h 606792"/>
                  <a:gd name="connsiteX3" fmla="*/ 346782 w 538414"/>
                  <a:gd name="connsiteY3" fmla="*/ 492292 h 606792"/>
                  <a:gd name="connsiteX4" fmla="*/ 473575 w 538414"/>
                  <a:gd name="connsiteY4" fmla="*/ 303537 h 606792"/>
                  <a:gd name="connsiteX5" fmla="*/ 334330 w 538414"/>
                  <a:gd name="connsiteY5" fmla="*/ 110082 h 606792"/>
                  <a:gd name="connsiteX6" fmla="*/ 231243 w 538414"/>
                  <a:gd name="connsiteY6" fmla="*/ 37470 h 606792"/>
                  <a:gd name="connsiteX7" fmla="*/ 192829 w 538414"/>
                  <a:gd name="connsiteY7" fmla="*/ 114184 h 606792"/>
                  <a:gd name="connsiteX8" fmla="*/ 64833 w 538414"/>
                  <a:gd name="connsiteY8" fmla="*/ 303542 h 606792"/>
                  <a:gd name="connsiteX9" fmla="*/ 204065 w 538414"/>
                  <a:gd name="connsiteY9" fmla="*/ 496842 h 606792"/>
                  <a:gd name="connsiteX10" fmla="*/ 196625 w 538414"/>
                  <a:gd name="connsiteY10" fmla="*/ 562336 h 606792"/>
                  <a:gd name="connsiteX11" fmla="*/ 0 w 538414"/>
                  <a:gd name="connsiteY11" fmla="*/ 303542 h 606792"/>
                  <a:gd name="connsiteX12" fmla="*/ 231243 w 538414"/>
                  <a:gd name="connsiteY12" fmla="*/ 37470 h 606792"/>
                  <a:gd name="connsiteX13" fmla="*/ 296052 w 538414"/>
                  <a:gd name="connsiteY13" fmla="*/ 0 h 606792"/>
                  <a:gd name="connsiteX14" fmla="*/ 300607 w 538414"/>
                  <a:gd name="connsiteY14" fmla="*/ 607 h 606792"/>
                  <a:gd name="connsiteX15" fmla="*/ 312147 w 538414"/>
                  <a:gd name="connsiteY15" fmla="*/ 18801 h 606792"/>
                  <a:gd name="connsiteX16" fmla="*/ 285727 w 538414"/>
                  <a:gd name="connsiteY16" fmla="*/ 248964 h 606792"/>
                  <a:gd name="connsiteX17" fmla="*/ 408715 w 538414"/>
                  <a:gd name="connsiteY17" fmla="*/ 248964 h 606792"/>
                  <a:gd name="connsiteX18" fmla="*/ 422532 w 538414"/>
                  <a:gd name="connsiteY18" fmla="*/ 255635 h 606792"/>
                  <a:gd name="connsiteX19" fmla="*/ 423292 w 538414"/>
                  <a:gd name="connsiteY19" fmla="*/ 270949 h 606792"/>
                  <a:gd name="connsiteX20" fmla="*/ 256726 w 538414"/>
                  <a:gd name="connsiteY20" fmla="*/ 597998 h 606792"/>
                  <a:gd name="connsiteX21" fmla="*/ 242302 w 538414"/>
                  <a:gd name="connsiteY21" fmla="*/ 606792 h 606792"/>
                  <a:gd name="connsiteX22" fmla="*/ 237595 w 538414"/>
                  <a:gd name="connsiteY22" fmla="*/ 606186 h 606792"/>
                  <a:gd name="connsiteX23" fmla="*/ 226207 w 538414"/>
                  <a:gd name="connsiteY23" fmla="*/ 589659 h 606792"/>
                  <a:gd name="connsiteX24" fmla="*/ 251108 w 538414"/>
                  <a:gd name="connsiteY24" fmla="*/ 368139 h 606792"/>
                  <a:gd name="connsiteX25" fmla="*/ 129487 w 538414"/>
                  <a:gd name="connsiteY25" fmla="*/ 368139 h 606792"/>
                  <a:gd name="connsiteX26" fmla="*/ 115821 w 538414"/>
                  <a:gd name="connsiteY26" fmla="*/ 359496 h 606792"/>
                  <a:gd name="connsiteX27" fmla="*/ 115062 w 538414"/>
                  <a:gd name="connsiteY27" fmla="*/ 343121 h 606792"/>
                  <a:gd name="connsiteX28" fmla="*/ 281628 w 538414"/>
                  <a:gd name="connsiteY28" fmla="*/ 8946 h 606792"/>
                  <a:gd name="connsiteX29" fmla="*/ 296052 w 538414"/>
                  <a:gd name="connsiteY29" fmla="*/ 0 h 606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38414" h="606792">
                    <a:moveTo>
                      <a:pt x="341771" y="44738"/>
                    </a:moveTo>
                    <a:cubicBezTo>
                      <a:pt x="455049" y="76425"/>
                      <a:pt x="538414" y="180430"/>
                      <a:pt x="538414" y="303537"/>
                    </a:cubicBezTo>
                    <a:cubicBezTo>
                      <a:pt x="538414" y="438774"/>
                      <a:pt x="437739" y="550966"/>
                      <a:pt x="307453" y="569462"/>
                    </a:cubicBezTo>
                    <a:lnTo>
                      <a:pt x="346782" y="492292"/>
                    </a:lnTo>
                    <a:cubicBezTo>
                      <a:pt x="421035" y="461667"/>
                      <a:pt x="473575" y="388591"/>
                      <a:pt x="473575" y="303537"/>
                    </a:cubicBezTo>
                    <a:cubicBezTo>
                      <a:pt x="473575" y="213632"/>
                      <a:pt x="415113" y="137221"/>
                      <a:pt x="334330" y="110082"/>
                    </a:cubicBezTo>
                    <a:close/>
                    <a:moveTo>
                      <a:pt x="231243" y="37470"/>
                    </a:moveTo>
                    <a:lnTo>
                      <a:pt x="192829" y="114184"/>
                    </a:lnTo>
                    <a:cubicBezTo>
                      <a:pt x="117975" y="144505"/>
                      <a:pt x="64833" y="217883"/>
                      <a:pt x="64833" y="303542"/>
                    </a:cubicBezTo>
                    <a:cubicBezTo>
                      <a:pt x="64833" y="393294"/>
                      <a:pt x="123137" y="469704"/>
                      <a:pt x="204065" y="496842"/>
                    </a:cubicBezTo>
                    <a:lnTo>
                      <a:pt x="196625" y="562336"/>
                    </a:lnTo>
                    <a:cubicBezTo>
                      <a:pt x="83357" y="530650"/>
                      <a:pt x="0" y="426647"/>
                      <a:pt x="0" y="303542"/>
                    </a:cubicBezTo>
                    <a:cubicBezTo>
                      <a:pt x="0" y="168156"/>
                      <a:pt x="100666" y="55966"/>
                      <a:pt x="231243" y="37470"/>
                    </a:cubicBezTo>
                    <a:close/>
                    <a:moveTo>
                      <a:pt x="296052" y="0"/>
                    </a:moveTo>
                    <a:cubicBezTo>
                      <a:pt x="297570" y="0"/>
                      <a:pt x="299089" y="152"/>
                      <a:pt x="300607" y="607"/>
                    </a:cubicBezTo>
                    <a:cubicBezTo>
                      <a:pt x="308199" y="2881"/>
                      <a:pt x="313058" y="11069"/>
                      <a:pt x="312147" y="18801"/>
                    </a:cubicBezTo>
                    <a:lnTo>
                      <a:pt x="285727" y="248964"/>
                    </a:lnTo>
                    <a:lnTo>
                      <a:pt x="408715" y="248964"/>
                    </a:lnTo>
                    <a:cubicBezTo>
                      <a:pt x="414485" y="248964"/>
                      <a:pt x="419647" y="250783"/>
                      <a:pt x="422532" y="255635"/>
                    </a:cubicBezTo>
                    <a:cubicBezTo>
                      <a:pt x="425569" y="260487"/>
                      <a:pt x="425721" y="265946"/>
                      <a:pt x="423292" y="270949"/>
                    </a:cubicBezTo>
                    <a:lnTo>
                      <a:pt x="256726" y="597998"/>
                    </a:lnTo>
                    <a:cubicBezTo>
                      <a:pt x="253841" y="603457"/>
                      <a:pt x="248223" y="606792"/>
                      <a:pt x="242302" y="606792"/>
                    </a:cubicBezTo>
                    <a:cubicBezTo>
                      <a:pt x="240632" y="606792"/>
                      <a:pt x="239113" y="606641"/>
                      <a:pt x="237595" y="606186"/>
                    </a:cubicBezTo>
                    <a:cubicBezTo>
                      <a:pt x="230155" y="603911"/>
                      <a:pt x="225296" y="597392"/>
                      <a:pt x="226207" y="589659"/>
                    </a:cubicBezTo>
                    <a:lnTo>
                      <a:pt x="251108" y="368139"/>
                    </a:lnTo>
                    <a:lnTo>
                      <a:pt x="129487" y="368139"/>
                    </a:lnTo>
                    <a:cubicBezTo>
                      <a:pt x="123869" y="368139"/>
                      <a:pt x="118706" y="364348"/>
                      <a:pt x="115821" y="359496"/>
                    </a:cubicBezTo>
                    <a:cubicBezTo>
                      <a:pt x="112785" y="354796"/>
                      <a:pt x="112481" y="348125"/>
                      <a:pt x="115062" y="343121"/>
                    </a:cubicBezTo>
                    <a:lnTo>
                      <a:pt x="281628" y="8946"/>
                    </a:lnTo>
                    <a:cubicBezTo>
                      <a:pt x="284361" y="3336"/>
                      <a:pt x="289979" y="0"/>
                      <a:pt x="29605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2853019" y="3848374"/>
                <a:ext cx="2088027" cy="540405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20000"/>
                  </a:lnSpc>
                </a:pPr>
                <a:r>
                  <a:rPr lang="en-US" altLang="zh-CN" sz="1800" b="1" dirty="0">
                    <a:solidFill>
                      <a:schemeClr val="tx1"/>
                    </a:solidFill>
                  </a:rPr>
                  <a:t>…</a:t>
                </a:r>
                <a:r>
                  <a:rPr lang="zh-CN" altLang="en-US" sz="1800" b="1" dirty="0">
                    <a:solidFill>
                      <a:schemeClr val="tx1"/>
                    </a:solidFill>
                  </a:rPr>
                  <a:t>意义</a:t>
                </a: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B40F5E8D-FBEB-4054-86D5-66BEF7C4392C}"/>
                  </a:ext>
                </a:extLst>
              </p:cNvPr>
              <p:cNvSpPr txBox="1"/>
              <p:nvPr/>
            </p:nvSpPr>
            <p:spPr>
              <a:xfrm>
                <a:off x="2853018" y="4388779"/>
                <a:ext cx="2088028" cy="12211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/>
                  <a:t>Supporting 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xt </a:t>
                </a:r>
                <a:r>
                  <a:rPr lang="en-US" altLang="zh-CN" sz="1100" dirty="0"/>
                  <a:t>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cxnSp>
            <p:nvCxnSpPr>
              <p:cNvPr id="26" name="直接连接符 25"/>
              <p:cNvCxnSpPr>
                <a:stCxn id="22" idx="2"/>
              </p:cNvCxnSpPr>
              <p:nvPr/>
            </p:nvCxnSpPr>
            <p:spPr>
              <a:xfrm flipV="1">
                <a:off x="3896984" y="1028700"/>
                <a:ext cx="48" cy="1292499"/>
              </a:xfrm>
              <a:prstGeom prst="line">
                <a:avLst/>
              </a:prstGeom>
              <a:ln w="3175" cap="rnd">
                <a:solidFill>
                  <a:schemeClr val="tx1">
                    <a:lumMod val="50000"/>
                    <a:lumOff val="50000"/>
                  </a:schemeClr>
                </a:solidFill>
                <a:round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组合 9"/>
            <p:cNvGrpSpPr/>
            <p:nvPr/>
          </p:nvGrpSpPr>
          <p:grpSpPr>
            <a:xfrm>
              <a:off x="7238254" y="1028700"/>
              <a:ext cx="2088028" cy="4581252"/>
              <a:chOff x="7238254" y="1028700"/>
              <a:chExt cx="2088028" cy="4581252"/>
            </a:xfrm>
          </p:grpSpPr>
          <p:sp>
            <p:nvSpPr>
              <p:cNvPr id="17" name="任意多边形: 形状 16"/>
              <p:cNvSpPr/>
              <p:nvPr/>
            </p:nvSpPr>
            <p:spPr bwMode="auto">
              <a:xfrm>
                <a:off x="7614724" y="2321199"/>
                <a:ext cx="1335088" cy="1527175"/>
              </a:xfrm>
              <a:custGeom>
                <a:avLst/>
                <a:gdLst>
                  <a:gd name="T0" fmla="*/ 2491 w 14001"/>
                  <a:gd name="T1" fmla="*/ 13529 h 16020"/>
                  <a:gd name="T2" fmla="*/ 2491 w 14001"/>
                  <a:gd name="T3" fmla="*/ 4510 h 16020"/>
                  <a:gd name="T4" fmla="*/ 7000 w 14001"/>
                  <a:gd name="T5" fmla="*/ 0 h 16020"/>
                  <a:gd name="T6" fmla="*/ 11510 w 14001"/>
                  <a:gd name="T7" fmla="*/ 4510 h 16020"/>
                  <a:gd name="T8" fmla="*/ 11510 w 14001"/>
                  <a:gd name="T9" fmla="*/ 13529 h 16020"/>
                  <a:gd name="T10" fmla="*/ 2491 w 14001"/>
                  <a:gd name="T11" fmla="*/ 13529 h 16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001" h="16020">
                    <a:moveTo>
                      <a:pt x="2491" y="13529"/>
                    </a:moveTo>
                    <a:cubicBezTo>
                      <a:pt x="0" y="11039"/>
                      <a:pt x="0" y="7000"/>
                      <a:pt x="2491" y="4510"/>
                    </a:cubicBezTo>
                    <a:cubicBezTo>
                      <a:pt x="3994" y="3006"/>
                      <a:pt x="5497" y="1503"/>
                      <a:pt x="7000" y="0"/>
                    </a:cubicBezTo>
                    <a:cubicBezTo>
                      <a:pt x="8504" y="1503"/>
                      <a:pt x="10007" y="3006"/>
                      <a:pt x="11510" y="4510"/>
                    </a:cubicBezTo>
                    <a:cubicBezTo>
                      <a:pt x="14001" y="7000"/>
                      <a:pt x="14001" y="11039"/>
                      <a:pt x="11510" y="13529"/>
                    </a:cubicBezTo>
                    <a:cubicBezTo>
                      <a:pt x="9020" y="16020"/>
                      <a:pt x="4981" y="16020"/>
                      <a:pt x="2491" y="13529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/>
              </a:p>
            </p:txBody>
          </p:sp>
          <p:sp>
            <p:nvSpPr>
              <p:cNvPr id="18" name="任意多边形: 形状 17"/>
              <p:cNvSpPr/>
              <p:nvPr/>
            </p:nvSpPr>
            <p:spPr bwMode="auto">
              <a:xfrm>
                <a:off x="8026680" y="2863095"/>
                <a:ext cx="511176" cy="443383"/>
              </a:xfrm>
              <a:custGeom>
                <a:avLst/>
                <a:gdLst>
                  <a:gd name="connsiteX0" fmla="*/ 303820 w 607639"/>
                  <a:gd name="connsiteY0" fmla="*/ 112552 h 527053"/>
                  <a:gd name="connsiteX1" fmla="*/ 347324 w 607639"/>
                  <a:gd name="connsiteY1" fmla="*/ 155985 h 527053"/>
                  <a:gd name="connsiteX2" fmla="*/ 303820 w 607639"/>
                  <a:gd name="connsiteY2" fmla="*/ 199418 h 527053"/>
                  <a:gd name="connsiteX3" fmla="*/ 260316 w 607639"/>
                  <a:gd name="connsiteY3" fmla="*/ 155985 h 527053"/>
                  <a:gd name="connsiteX4" fmla="*/ 303820 w 607639"/>
                  <a:gd name="connsiteY4" fmla="*/ 112552 h 527053"/>
                  <a:gd name="connsiteX5" fmla="*/ 303775 w 607639"/>
                  <a:gd name="connsiteY5" fmla="*/ 72970 h 527053"/>
                  <a:gd name="connsiteX6" fmla="*/ 220644 w 607639"/>
                  <a:gd name="connsiteY6" fmla="*/ 155983 h 527053"/>
                  <a:gd name="connsiteX7" fmla="*/ 303775 w 607639"/>
                  <a:gd name="connsiteY7" fmla="*/ 238996 h 527053"/>
                  <a:gd name="connsiteX8" fmla="*/ 386906 w 607639"/>
                  <a:gd name="connsiteY8" fmla="*/ 155983 h 527053"/>
                  <a:gd name="connsiteX9" fmla="*/ 303775 w 607639"/>
                  <a:gd name="connsiteY9" fmla="*/ 72970 h 527053"/>
                  <a:gd name="connsiteX10" fmla="*/ 303775 w 607639"/>
                  <a:gd name="connsiteY10" fmla="*/ 0 h 527053"/>
                  <a:gd name="connsiteX11" fmla="*/ 459979 w 607639"/>
                  <a:gd name="connsiteY11" fmla="*/ 155983 h 527053"/>
                  <a:gd name="connsiteX12" fmla="*/ 426246 w 607639"/>
                  <a:gd name="connsiteY12" fmla="*/ 252594 h 527053"/>
                  <a:gd name="connsiteX13" fmla="*/ 500922 w 607639"/>
                  <a:gd name="connsiteY13" fmla="*/ 294812 h 527053"/>
                  <a:gd name="connsiteX14" fmla="*/ 517388 w 607639"/>
                  <a:gd name="connsiteY14" fmla="*/ 292057 h 527053"/>
                  <a:gd name="connsiteX15" fmla="*/ 567943 w 607639"/>
                  <a:gd name="connsiteY15" fmla="*/ 342451 h 527053"/>
                  <a:gd name="connsiteX16" fmla="*/ 537236 w 607639"/>
                  <a:gd name="connsiteY16" fmla="*/ 388935 h 527053"/>
                  <a:gd name="connsiteX17" fmla="*/ 537236 w 607639"/>
                  <a:gd name="connsiteY17" fmla="*/ 419420 h 527053"/>
                  <a:gd name="connsiteX18" fmla="*/ 607639 w 607639"/>
                  <a:gd name="connsiteY18" fmla="*/ 507322 h 527053"/>
                  <a:gd name="connsiteX19" fmla="*/ 607639 w 607639"/>
                  <a:gd name="connsiteY19" fmla="*/ 527053 h 527053"/>
                  <a:gd name="connsiteX20" fmla="*/ 427136 w 607639"/>
                  <a:gd name="connsiteY20" fmla="*/ 527053 h 527053"/>
                  <a:gd name="connsiteX21" fmla="*/ 427136 w 607639"/>
                  <a:gd name="connsiteY21" fmla="*/ 507322 h 527053"/>
                  <a:gd name="connsiteX22" fmla="*/ 497540 w 607639"/>
                  <a:gd name="connsiteY22" fmla="*/ 419420 h 527053"/>
                  <a:gd name="connsiteX23" fmla="*/ 497540 w 607639"/>
                  <a:gd name="connsiteY23" fmla="*/ 388935 h 527053"/>
                  <a:gd name="connsiteX24" fmla="*/ 466833 w 607639"/>
                  <a:gd name="connsiteY24" fmla="*/ 342451 h 527053"/>
                  <a:gd name="connsiteX25" fmla="*/ 470660 w 607639"/>
                  <a:gd name="connsiteY25" fmla="*/ 323253 h 527053"/>
                  <a:gd name="connsiteX26" fmla="*/ 396608 w 607639"/>
                  <a:gd name="connsiteY26" fmla="*/ 281302 h 527053"/>
                  <a:gd name="connsiteX27" fmla="*/ 323623 w 607639"/>
                  <a:gd name="connsiteY27" fmla="*/ 310632 h 527053"/>
                  <a:gd name="connsiteX28" fmla="*/ 323623 w 607639"/>
                  <a:gd name="connsiteY28" fmla="*/ 419420 h 527053"/>
                  <a:gd name="connsiteX29" fmla="*/ 394026 w 607639"/>
                  <a:gd name="connsiteY29" fmla="*/ 507322 h 527053"/>
                  <a:gd name="connsiteX30" fmla="*/ 394026 w 607639"/>
                  <a:gd name="connsiteY30" fmla="*/ 527053 h 527053"/>
                  <a:gd name="connsiteX31" fmla="*/ 213613 w 607639"/>
                  <a:gd name="connsiteY31" fmla="*/ 527053 h 527053"/>
                  <a:gd name="connsiteX32" fmla="*/ 213613 w 607639"/>
                  <a:gd name="connsiteY32" fmla="*/ 507322 h 527053"/>
                  <a:gd name="connsiteX33" fmla="*/ 284016 w 607639"/>
                  <a:gd name="connsiteY33" fmla="*/ 419420 h 527053"/>
                  <a:gd name="connsiteX34" fmla="*/ 284016 w 607639"/>
                  <a:gd name="connsiteY34" fmla="*/ 310632 h 527053"/>
                  <a:gd name="connsiteX35" fmla="*/ 211032 w 607639"/>
                  <a:gd name="connsiteY35" fmla="*/ 281302 h 527053"/>
                  <a:gd name="connsiteX36" fmla="*/ 136890 w 607639"/>
                  <a:gd name="connsiteY36" fmla="*/ 323253 h 527053"/>
                  <a:gd name="connsiteX37" fmla="*/ 140717 w 607639"/>
                  <a:gd name="connsiteY37" fmla="*/ 342451 h 527053"/>
                  <a:gd name="connsiteX38" fmla="*/ 110011 w 607639"/>
                  <a:gd name="connsiteY38" fmla="*/ 388935 h 527053"/>
                  <a:gd name="connsiteX39" fmla="*/ 110011 w 607639"/>
                  <a:gd name="connsiteY39" fmla="*/ 419420 h 527053"/>
                  <a:gd name="connsiteX40" fmla="*/ 180414 w 607639"/>
                  <a:gd name="connsiteY40" fmla="*/ 507322 h 527053"/>
                  <a:gd name="connsiteX41" fmla="*/ 180414 w 607639"/>
                  <a:gd name="connsiteY41" fmla="*/ 527053 h 527053"/>
                  <a:gd name="connsiteX42" fmla="*/ 0 w 607639"/>
                  <a:gd name="connsiteY42" fmla="*/ 527053 h 527053"/>
                  <a:gd name="connsiteX43" fmla="*/ 0 w 607639"/>
                  <a:gd name="connsiteY43" fmla="*/ 507322 h 527053"/>
                  <a:gd name="connsiteX44" fmla="*/ 70403 w 607639"/>
                  <a:gd name="connsiteY44" fmla="*/ 419420 h 527053"/>
                  <a:gd name="connsiteX45" fmla="*/ 70403 w 607639"/>
                  <a:gd name="connsiteY45" fmla="*/ 388935 h 527053"/>
                  <a:gd name="connsiteX46" fmla="*/ 39696 w 607639"/>
                  <a:gd name="connsiteY46" fmla="*/ 342451 h 527053"/>
                  <a:gd name="connsiteX47" fmla="*/ 90251 w 607639"/>
                  <a:gd name="connsiteY47" fmla="*/ 292057 h 527053"/>
                  <a:gd name="connsiteX48" fmla="*/ 106717 w 607639"/>
                  <a:gd name="connsiteY48" fmla="*/ 294812 h 527053"/>
                  <a:gd name="connsiteX49" fmla="*/ 181304 w 607639"/>
                  <a:gd name="connsiteY49" fmla="*/ 252594 h 527053"/>
                  <a:gd name="connsiteX50" fmla="*/ 147660 w 607639"/>
                  <a:gd name="connsiteY50" fmla="*/ 155983 h 527053"/>
                  <a:gd name="connsiteX51" fmla="*/ 303775 w 607639"/>
                  <a:gd name="connsiteY51" fmla="*/ 0 h 527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07639" h="527053">
                    <a:moveTo>
                      <a:pt x="303820" y="112552"/>
                    </a:moveTo>
                    <a:cubicBezTo>
                      <a:pt x="327847" y="112552"/>
                      <a:pt x="347324" y="131998"/>
                      <a:pt x="347324" y="155985"/>
                    </a:cubicBezTo>
                    <a:cubicBezTo>
                      <a:pt x="347324" y="179972"/>
                      <a:pt x="327847" y="199418"/>
                      <a:pt x="303820" y="199418"/>
                    </a:cubicBezTo>
                    <a:cubicBezTo>
                      <a:pt x="279793" y="199418"/>
                      <a:pt x="260316" y="179972"/>
                      <a:pt x="260316" y="155985"/>
                    </a:cubicBezTo>
                    <a:cubicBezTo>
                      <a:pt x="260316" y="131998"/>
                      <a:pt x="279793" y="112552"/>
                      <a:pt x="303820" y="112552"/>
                    </a:cubicBezTo>
                    <a:close/>
                    <a:moveTo>
                      <a:pt x="303775" y="72970"/>
                    </a:moveTo>
                    <a:cubicBezTo>
                      <a:pt x="257937" y="72970"/>
                      <a:pt x="220644" y="110210"/>
                      <a:pt x="220644" y="155983"/>
                    </a:cubicBezTo>
                    <a:cubicBezTo>
                      <a:pt x="220644" y="201756"/>
                      <a:pt x="257937" y="238996"/>
                      <a:pt x="303775" y="238996"/>
                    </a:cubicBezTo>
                    <a:cubicBezTo>
                      <a:pt x="349613" y="238996"/>
                      <a:pt x="386906" y="201756"/>
                      <a:pt x="386906" y="155983"/>
                    </a:cubicBezTo>
                    <a:cubicBezTo>
                      <a:pt x="386906" y="110210"/>
                      <a:pt x="349613" y="72970"/>
                      <a:pt x="303775" y="72970"/>
                    </a:cubicBezTo>
                    <a:close/>
                    <a:moveTo>
                      <a:pt x="303775" y="0"/>
                    </a:moveTo>
                    <a:cubicBezTo>
                      <a:pt x="389932" y="0"/>
                      <a:pt x="459979" y="69948"/>
                      <a:pt x="459979" y="155983"/>
                    </a:cubicBezTo>
                    <a:cubicBezTo>
                      <a:pt x="459979" y="192423"/>
                      <a:pt x="447341" y="226020"/>
                      <a:pt x="426246" y="252594"/>
                    </a:cubicBezTo>
                    <a:lnTo>
                      <a:pt x="500922" y="294812"/>
                    </a:lnTo>
                    <a:cubicBezTo>
                      <a:pt x="506084" y="293034"/>
                      <a:pt x="511602" y="292057"/>
                      <a:pt x="517388" y="292057"/>
                    </a:cubicBezTo>
                    <a:cubicBezTo>
                      <a:pt x="545246" y="292057"/>
                      <a:pt x="567943" y="314632"/>
                      <a:pt x="567943" y="342451"/>
                    </a:cubicBezTo>
                    <a:cubicBezTo>
                      <a:pt x="567943" y="363249"/>
                      <a:pt x="555215" y="381202"/>
                      <a:pt x="537236" y="388935"/>
                    </a:cubicBezTo>
                    <a:lnTo>
                      <a:pt x="537236" y="419420"/>
                    </a:lnTo>
                    <a:cubicBezTo>
                      <a:pt x="577466" y="428486"/>
                      <a:pt x="607639" y="464393"/>
                      <a:pt x="607639" y="507322"/>
                    </a:cubicBezTo>
                    <a:lnTo>
                      <a:pt x="607639" y="527053"/>
                    </a:lnTo>
                    <a:lnTo>
                      <a:pt x="427136" y="527053"/>
                    </a:lnTo>
                    <a:lnTo>
                      <a:pt x="427136" y="507322"/>
                    </a:lnTo>
                    <a:cubicBezTo>
                      <a:pt x="427136" y="464393"/>
                      <a:pt x="457309" y="428486"/>
                      <a:pt x="497540" y="419420"/>
                    </a:cubicBezTo>
                    <a:lnTo>
                      <a:pt x="497540" y="388935"/>
                    </a:lnTo>
                    <a:cubicBezTo>
                      <a:pt x="479560" y="381202"/>
                      <a:pt x="466833" y="363249"/>
                      <a:pt x="466833" y="342451"/>
                    </a:cubicBezTo>
                    <a:cubicBezTo>
                      <a:pt x="466833" y="335696"/>
                      <a:pt x="468257" y="329208"/>
                      <a:pt x="470660" y="323253"/>
                    </a:cubicBezTo>
                    <a:lnTo>
                      <a:pt x="396608" y="281302"/>
                    </a:lnTo>
                    <a:cubicBezTo>
                      <a:pt x="375691" y="296767"/>
                      <a:pt x="350681" y="307166"/>
                      <a:pt x="323623" y="310632"/>
                    </a:cubicBezTo>
                    <a:lnTo>
                      <a:pt x="323623" y="419420"/>
                    </a:lnTo>
                    <a:cubicBezTo>
                      <a:pt x="363854" y="428486"/>
                      <a:pt x="394026" y="464393"/>
                      <a:pt x="394026" y="507322"/>
                    </a:cubicBezTo>
                    <a:lnTo>
                      <a:pt x="394026" y="527053"/>
                    </a:lnTo>
                    <a:lnTo>
                      <a:pt x="213613" y="527053"/>
                    </a:lnTo>
                    <a:lnTo>
                      <a:pt x="213613" y="507322"/>
                    </a:lnTo>
                    <a:cubicBezTo>
                      <a:pt x="213613" y="464393"/>
                      <a:pt x="243786" y="428486"/>
                      <a:pt x="284016" y="419420"/>
                    </a:cubicBezTo>
                    <a:lnTo>
                      <a:pt x="284016" y="310632"/>
                    </a:lnTo>
                    <a:cubicBezTo>
                      <a:pt x="256869" y="307166"/>
                      <a:pt x="231948" y="296767"/>
                      <a:pt x="211032" y="281302"/>
                    </a:cubicBezTo>
                    <a:lnTo>
                      <a:pt x="136890" y="323253"/>
                    </a:lnTo>
                    <a:cubicBezTo>
                      <a:pt x="139382" y="329208"/>
                      <a:pt x="140717" y="335696"/>
                      <a:pt x="140717" y="342451"/>
                    </a:cubicBezTo>
                    <a:cubicBezTo>
                      <a:pt x="140717" y="363249"/>
                      <a:pt x="128079" y="381202"/>
                      <a:pt x="110011" y="388935"/>
                    </a:cubicBezTo>
                    <a:lnTo>
                      <a:pt x="110011" y="419420"/>
                    </a:lnTo>
                    <a:cubicBezTo>
                      <a:pt x="150241" y="428486"/>
                      <a:pt x="180414" y="464393"/>
                      <a:pt x="180414" y="507322"/>
                    </a:cubicBezTo>
                    <a:lnTo>
                      <a:pt x="180414" y="527053"/>
                    </a:lnTo>
                    <a:lnTo>
                      <a:pt x="0" y="527053"/>
                    </a:lnTo>
                    <a:lnTo>
                      <a:pt x="0" y="507322"/>
                    </a:lnTo>
                    <a:cubicBezTo>
                      <a:pt x="0" y="464393"/>
                      <a:pt x="30173" y="428486"/>
                      <a:pt x="70403" y="419420"/>
                    </a:cubicBezTo>
                    <a:lnTo>
                      <a:pt x="70403" y="388935"/>
                    </a:lnTo>
                    <a:cubicBezTo>
                      <a:pt x="52335" y="381202"/>
                      <a:pt x="39696" y="363249"/>
                      <a:pt x="39696" y="342451"/>
                    </a:cubicBezTo>
                    <a:cubicBezTo>
                      <a:pt x="39696" y="314632"/>
                      <a:pt x="62393" y="292057"/>
                      <a:pt x="90251" y="292057"/>
                    </a:cubicBezTo>
                    <a:cubicBezTo>
                      <a:pt x="96037" y="292057"/>
                      <a:pt x="101555" y="293034"/>
                      <a:pt x="106717" y="294812"/>
                    </a:cubicBezTo>
                    <a:lnTo>
                      <a:pt x="181304" y="252594"/>
                    </a:lnTo>
                    <a:cubicBezTo>
                      <a:pt x="160299" y="226020"/>
                      <a:pt x="147660" y="192423"/>
                      <a:pt x="147660" y="155983"/>
                    </a:cubicBezTo>
                    <a:cubicBezTo>
                      <a:pt x="147660" y="69948"/>
                      <a:pt x="217707" y="0"/>
                      <a:pt x="30377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7238255" y="3848374"/>
                <a:ext cx="2088027" cy="540405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20000"/>
                  </a:lnSpc>
                </a:pPr>
                <a:r>
                  <a:rPr lang="en-US" altLang="zh-CN" sz="1800" b="1" dirty="0">
                    <a:solidFill>
                      <a:schemeClr val="tx1"/>
                    </a:solidFill>
                  </a:rPr>
                  <a:t>…</a:t>
                </a:r>
                <a:r>
                  <a:rPr lang="zh-CN" altLang="en-US" sz="1800" b="1" dirty="0">
                    <a:solidFill>
                      <a:schemeClr val="tx1"/>
                    </a:solidFill>
                  </a:rPr>
                  <a:t>意义</a:t>
                </a: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B40F5E8D-FBEB-4054-86D5-66BEF7C4392C}"/>
                  </a:ext>
                </a:extLst>
              </p:cNvPr>
              <p:cNvSpPr txBox="1"/>
              <p:nvPr/>
            </p:nvSpPr>
            <p:spPr>
              <a:xfrm>
                <a:off x="7238254" y="4388779"/>
                <a:ext cx="2088028" cy="12211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/>
                  <a:t>Supporting 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xt </a:t>
                </a:r>
                <a:r>
                  <a:rPr lang="en-US" altLang="zh-CN" sz="1100" dirty="0"/>
                  <a:t>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cxnSp>
            <p:nvCxnSpPr>
              <p:cNvPr id="21" name="直接连接符 20"/>
              <p:cNvCxnSpPr>
                <a:stCxn id="17" idx="2"/>
              </p:cNvCxnSpPr>
              <p:nvPr/>
            </p:nvCxnSpPr>
            <p:spPr>
              <a:xfrm flipV="1">
                <a:off x="8282220" y="1028700"/>
                <a:ext cx="48" cy="1292499"/>
              </a:xfrm>
              <a:prstGeom prst="line">
                <a:avLst/>
              </a:prstGeom>
              <a:ln w="3175" cap="rnd">
                <a:solidFill>
                  <a:schemeClr val="tx1">
                    <a:lumMod val="50000"/>
                    <a:lumOff val="50000"/>
                  </a:schemeClr>
                </a:solidFill>
                <a:round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组合 10"/>
            <p:cNvGrpSpPr/>
            <p:nvPr/>
          </p:nvGrpSpPr>
          <p:grpSpPr>
            <a:xfrm>
              <a:off x="9430872" y="1028700"/>
              <a:ext cx="2088028" cy="4581252"/>
              <a:chOff x="9430872" y="1028700"/>
              <a:chExt cx="2088028" cy="4581252"/>
            </a:xfrm>
          </p:grpSpPr>
          <p:sp>
            <p:nvSpPr>
              <p:cNvPr id="12" name="任意多边形: 形状 11"/>
              <p:cNvSpPr/>
              <p:nvPr/>
            </p:nvSpPr>
            <p:spPr bwMode="auto">
              <a:xfrm>
                <a:off x="9807342" y="2321199"/>
                <a:ext cx="1335088" cy="1527175"/>
              </a:xfrm>
              <a:custGeom>
                <a:avLst/>
                <a:gdLst>
                  <a:gd name="T0" fmla="*/ 2491 w 14001"/>
                  <a:gd name="T1" fmla="*/ 13529 h 16020"/>
                  <a:gd name="T2" fmla="*/ 2491 w 14001"/>
                  <a:gd name="T3" fmla="*/ 4510 h 16020"/>
                  <a:gd name="T4" fmla="*/ 7000 w 14001"/>
                  <a:gd name="T5" fmla="*/ 0 h 16020"/>
                  <a:gd name="T6" fmla="*/ 11510 w 14001"/>
                  <a:gd name="T7" fmla="*/ 4510 h 16020"/>
                  <a:gd name="T8" fmla="*/ 11510 w 14001"/>
                  <a:gd name="T9" fmla="*/ 13529 h 16020"/>
                  <a:gd name="T10" fmla="*/ 2491 w 14001"/>
                  <a:gd name="T11" fmla="*/ 13529 h 16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001" h="16020">
                    <a:moveTo>
                      <a:pt x="2491" y="13529"/>
                    </a:moveTo>
                    <a:cubicBezTo>
                      <a:pt x="0" y="11039"/>
                      <a:pt x="0" y="7000"/>
                      <a:pt x="2491" y="4510"/>
                    </a:cubicBezTo>
                    <a:cubicBezTo>
                      <a:pt x="3994" y="3006"/>
                      <a:pt x="5497" y="1503"/>
                      <a:pt x="7000" y="0"/>
                    </a:cubicBezTo>
                    <a:cubicBezTo>
                      <a:pt x="8504" y="1503"/>
                      <a:pt x="10007" y="3006"/>
                      <a:pt x="11510" y="4510"/>
                    </a:cubicBezTo>
                    <a:cubicBezTo>
                      <a:pt x="14001" y="7000"/>
                      <a:pt x="14001" y="11039"/>
                      <a:pt x="11510" y="13529"/>
                    </a:cubicBezTo>
                    <a:cubicBezTo>
                      <a:pt x="9020" y="16020"/>
                      <a:pt x="4981" y="16020"/>
                      <a:pt x="2491" y="13529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/>
              </a:p>
            </p:txBody>
          </p:sp>
          <p:sp>
            <p:nvSpPr>
              <p:cNvPr id="13" name="任意多边形: 形状 12"/>
              <p:cNvSpPr/>
              <p:nvPr/>
            </p:nvSpPr>
            <p:spPr bwMode="auto">
              <a:xfrm>
                <a:off x="10254992" y="2829199"/>
                <a:ext cx="439789" cy="511175"/>
              </a:xfrm>
              <a:custGeom>
                <a:avLst/>
                <a:gdLst>
                  <a:gd name="connsiteX0" fmla="*/ 260400 w 520800"/>
                  <a:gd name="connsiteY0" fmla="*/ 205300 h 605336"/>
                  <a:gd name="connsiteX1" fmla="*/ 315198 w 520800"/>
                  <a:gd name="connsiteY1" fmla="*/ 260020 h 605336"/>
                  <a:gd name="connsiteX2" fmla="*/ 291633 w 520800"/>
                  <a:gd name="connsiteY2" fmla="*/ 304935 h 605336"/>
                  <a:gd name="connsiteX3" fmla="*/ 353818 w 520800"/>
                  <a:gd name="connsiteY3" fmla="*/ 568825 h 605336"/>
                  <a:gd name="connsiteX4" fmla="*/ 348207 w 520800"/>
                  <a:gd name="connsiteY4" fmla="*/ 594130 h 605336"/>
                  <a:gd name="connsiteX5" fmla="*/ 324830 w 520800"/>
                  <a:gd name="connsiteY5" fmla="*/ 605336 h 605336"/>
                  <a:gd name="connsiteX6" fmla="*/ 195971 w 520800"/>
                  <a:gd name="connsiteY6" fmla="*/ 605336 h 605336"/>
                  <a:gd name="connsiteX7" fmla="*/ 172593 w 520800"/>
                  <a:gd name="connsiteY7" fmla="*/ 594130 h 605336"/>
                  <a:gd name="connsiteX8" fmla="*/ 166982 w 520800"/>
                  <a:gd name="connsiteY8" fmla="*/ 568825 h 605336"/>
                  <a:gd name="connsiteX9" fmla="*/ 229167 w 520800"/>
                  <a:gd name="connsiteY9" fmla="*/ 304935 h 605336"/>
                  <a:gd name="connsiteX10" fmla="*/ 205603 w 520800"/>
                  <a:gd name="connsiteY10" fmla="*/ 260020 h 605336"/>
                  <a:gd name="connsiteX11" fmla="*/ 260400 w 520800"/>
                  <a:gd name="connsiteY11" fmla="*/ 205300 h 605336"/>
                  <a:gd name="connsiteX12" fmla="*/ 260414 w 520800"/>
                  <a:gd name="connsiteY12" fmla="*/ 92466 h 605336"/>
                  <a:gd name="connsiteX13" fmla="*/ 379104 w 520800"/>
                  <a:gd name="connsiteY13" fmla="*/ 141489 h 605336"/>
                  <a:gd name="connsiteX14" fmla="*/ 379104 w 520800"/>
                  <a:gd name="connsiteY14" fmla="*/ 378575 h 605336"/>
                  <a:gd name="connsiteX15" fmla="*/ 364794 w 520800"/>
                  <a:gd name="connsiteY15" fmla="*/ 384458 h 605336"/>
                  <a:gd name="connsiteX16" fmla="*/ 350390 w 520800"/>
                  <a:gd name="connsiteY16" fmla="*/ 378575 h 605336"/>
                  <a:gd name="connsiteX17" fmla="*/ 350390 w 520800"/>
                  <a:gd name="connsiteY17" fmla="*/ 349815 h 605336"/>
                  <a:gd name="connsiteX18" fmla="*/ 350390 w 520800"/>
                  <a:gd name="connsiteY18" fmla="*/ 170250 h 605336"/>
                  <a:gd name="connsiteX19" fmla="*/ 260414 w 520800"/>
                  <a:gd name="connsiteY19" fmla="*/ 133085 h 605336"/>
                  <a:gd name="connsiteX20" fmla="*/ 170530 w 520800"/>
                  <a:gd name="connsiteY20" fmla="*/ 170250 h 605336"/>
                  <a:gd name="connsiteX21" fmla="*/ 133211 w 520800"/>
                  <a:gd name="connsiteY21" fmla="*/ 259985 h 605336"/>
                  <a:gd name="connsiteX22" fmla="*/ 170530 w 520800"/>
                  <a:gd name="connsiteY22" fmla="*/ 349815 h 605336"/>
                  <a:gd name="connsiteX23" fmla="*/ 170530 w 520800"/>
                  <a:gd name="connsiteY23" fmla="*/ 378575 h 605336"/>
                  <a:gd name="connsiteX24" fmla="*/ 141722 w 520800"/>
                  <a:gd name="connsiteY24" fmla="*/ 378575 h 605336"/>
                  <a:gd name="connsiteX25" fmla="*/ 92525 w 520800"/>
                  <a:gd name="connsiteY25" fmla="*/ 260079 h 605336"/>
                  <a:gd name="connsiteX26" fmla="*/ 141722 w 520800"/>
                  <a:gd name="connsiteY26" fmla="*/ 141489 h 605336"/>
                  <a:gd name="connsiteX27" fmla="*/ 260414 w 520800"/>
                  <a:gd name="connsiteY27" fmla="*/ 92466 h 605336"/>
                  <a:gd name="connsiteX28" fmla="*/ 260400 w 520800"/>
                  <a:gd name="connsiteY28" fmla="*/ 0 h 605336"/>
                  <a:gd name="connsiteX29" fmla="*/ 444630 w 520800"/>
                  <a:gd name="connsiteY29" fmla="*/ 76135 h 605336"/>
                  <a:gd name="connsiteX30" fmla="*/ 444630 w 520800"/>
                  <a:gd name="connsiteY30" fmla="*/ 443989 h 605336"/>
                  <a:gd name="connsiteX31" fmla="*/ 430228 w 520800"/>
                  <a:gd name="connsiteY31" fmla="*/ 449966 h 605336"/>
                  <a:gd name="connsiteX32" fmla="*/ 415827 w 520800"/>
                  <a:gd name="connsiteY32" fmla="*/ 443989 h 605336"/>
                  <a:gd name="connsiteX33" fmla="*/ 415827 w 520800"/>
                  <a:gd name="connsiteY33" fmla="*/ 415319 h 605336"/>
                  <a:gd name="connsiteX34" fmla="*/ 415827 w 520800"/>
                  <a:gd name="connsiteY34" fmla="*/ 104805 h 605336"/>
                  <a:gd name="connsiteX35" fmla="*/ 104973 w 520800"/>
                  <a:gd name="connsiteY35" fmla="*/ 104805 h 605336"/>
                  <a:gd name="connsiteX36" fmla="*/ 104973 w 520800"/>
                  <a:gd name="connsiteY36" fmla="*/ 415319 h 605336"/>
                  <a:gd name="connsiteX37" fmla="*/ 104973 w 520800"/>
                  <a:gd name="connsiteY37" fmla="*/ 443989 h 605336"/>
                  <a:gd name="connsiteX38" fmla="*/ 76170 w 520800"/>
                  <a:gd name="connsiteY38" fmla="*/ 443989 h 605336"/>
                  <a:gd name="connsiteX39" fmla="*/ 76170 w 520800"/>
                  <a:gd name="connsiteY39" fmla="*/ 76135 h 605336"/>
                  <a:gd name="connsiteX40" fmla="*/ 260400 w 520800"/>
                  <a:gd name="connsiteY40" fmla="*/ 0 h 605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520800" h="605336">
                    <a:moveTo>
                      <a:pt x="260400" y="205300"/>
                    </a:moveTo>
                    <a:cubicBezTo>
                      <a:pt x="290698" y="205300"/>
                      <a:pt x="315198" y="229859"/>
                      <a:pt x="315198" y="260020"/>
                    </a:cubicBezTo>
                    <a:cubicBezTo>
                      <a:pt x="315198" y="278696"/>
                      <a:pt x="305847" y="295037"/>
                      <a:pt x="291633" y="304935"/>
                    </a:cubicBezTo>
                    <a:lnTo>
                      <a:pt x="353818" y="568825"/>
                    </a:lnTo>
                    <a:cubicBezTo>
                      <a:pt x="355875" y="577696"/>
                      <a:pt x="353818" y="586940"/>
                      <a:pt x="348207" y="594130"/>
                    </a:cubicBezTo>
                    <a:cubicBezTo>
                      <a:pt x="342503" y="601227"/>
                      <a:pt x="333994" y="605336"/>
                      <a:pt x="324830" y="605336"/>
                    </a:cubicBezTo>
                    <a:lnTo>
                      <a:pt x="195971" y="605336"/>
                    </a:lnTo>
                    <a:cubicBezTo>
                      <a:pt x="186900" y="605336"/>
                      <a:pt x="178297" y="601227"/>
                      <a:pt x="172593" y="594130"/>
                    </a:cubicBezTo>
                    <a:cubicBezTo>
                      <a:pt x="166982" y="586940"/>
                      <a:pt x="164925" y="577696"/>
                      <a:pt x="166982" y="568825"/>
                    </a:cubicBezTo>
                    <a:lnTo>
                      <a:pt x="229167" y="304935"/>
                    </a:lnTo>
                    <a:cubicBezTo>
                      <a:pt x="214954" y="295037"/>
                      <a:pt x="205603" y="278696"/>
                      <a:pt x="205603" y="260020"/>
                    </a:cubicBezTo>
                    <a:cubicBezTo>
                      <a:pt x="205603" y="229859"/>
                      <a:pt x="230103" y="205300"/>
                      <a:pt x="260400" y="205300"/>
                    </a:cubicBezTo>
                    <a:close/>
                    <a:moveTo>
                      <a:pt x="260414" y="92466"/>
                    </a:moveTo>
                    <a:cubicBezTo>
                      <a:pt x="305308" y="92466"/>
                      <a:pt x="347397" y="109834"/>
                      <a:pt x="379104" y="141489"/>
                    </a:cubicBezTo>
                    <a:cubicBezTo>
                      <a:pt x="444576" y="206854"/>
                      <a:pt x="444576" y="313211"/>
                      <a:pt x="379104" y="378575"/>
                    </a:cubicBezTo>
                    <a:cubicBezTo>
                      <a:pt x="375176" y="382497"/>
                      <a:pt x="369938" y="384458"/>
                      <a:pt x="364794" y="384458"/>
                    </a:cubicBezTo>
                    <a:cubicBezTo>
                      <a:pt x="359556" y="384458"/>
                      <a:pt x="354319" y="382497"/>
                      <a:pt x="350390" y="378575"/>
                    </a:cubicBezTo>
                    <a:cubicBezTo>
                      <a:pt x="342440" y="370638"/>
                      <a:pt x="342440" y="357752"/>
                      <a:pt x="350390" y="349815"/>
                    </a:cubicBezTo>
                    <a:cubicBezTo>
                      <a:pt x="399962" y="300324"/>
                      <a:pt x="399962" y="219740"/>
                      <a:pt x="350390" y="170250"/>
                    </a:cubicBezTo>
                    <a:cubicBezTo>
                      <a:pt x="326353" y="146251"/>
                      <a:pt x="294365" y="133085"/>
                      <a:pt x="260414" y="133085"/>
                    </a:cubicBezTo>
                    <a:cubicBezTo>
                      <a:pt x="226462" y="133085"/>
                      <a:pt x="194568" y="146251"/>
                      <a:pt x="170530" y="170250"/>
                    </a:cubicBezTo>
                    <a:cubicBezTo>
                      <a:pt x="146492" y="194248"/>
                      <a:pt x="133211" y="226089"/>
                      <a:pt x="133211" y="259985"/>
                    </a:cubicBezTo>
                    <a:cubicBezTo>
                      <a:pt x="133211" y="293975"/>
                      <a:pt x="146492" y="325817"/>
                      <a:pt x="170530" y="349815"/>
                    </a:cubicBezTo>
                    <a:cubicBezTo>
                      <a:pt x="178480" y="357752"/>
                      <a:pt x="178480" y="370638"/>
                      <a:pt x="170530" y="378575"/>
                    </a:cubicBezTo>
                    <a:cubicBezTo>
                      <a:pt x="162580" y="386512"/>
                      <a:pt x="149672" y="386512"/>
                      <a:pt x="141722" y="378575"/>
                    </a:cubicBezTo>
                    <a:cubicBezTo>
                      <a:pt x="110015" y="346920"/>
                      <a:pt x="92525" y="304807"/>
                      <a:pt x="92525" y="260079"/>
                    </a:cubicBezTo>
                    <a:cubicBezTo>
                      <a:pt x="92525" y="215258"/>
                      <a:pt x="110015" y="173144"/>
                      <a:pt x="141722" y="141489"/>
                    </a:cubicBezTo>
                    <a:cubicBezTo>
                      <a:pt x="173430" y="109834"/>
                      <a:pt x="215612" y="92466"/>
                      <a:pt x="260414" y="92466"/>
                    </a:cubicBezTo>
                    <a:close/>
                    <a:moveTo>
                      <a:pt x="260400" y="0"/>
                    </a:moveTo>
                    <a:cubicBezTo>
                      <a:pt x="327125" y="0"/>
                      <a:pt x="393850" y="25379"/>
                      <a:pt x="444630" y="76135"/>
                    </a:cubicBezTo>
                    <a:cubicBezTo>
                      <a:pt x="546190" y="177554"/>
                      <a:pt x="546190" y="342570"/>
                      <a:pt x="444630" y="443989"/>
                    </a:cubicBezTo>
                    <a:cubicBezTo>
                      <a:pt x="440702" y="448005"/>
                      <a:pt x="435465" y="449966"/>
                      <a:pt x="430228" y="449966"/>
                    </a:cubicBezTo>
                    <a:cubicBezTo>
                      <a:pt x="425085" y="449966"/>
                      <a:pt x="419848" y="448005"/>
                      <a:pt x="415827" y="443989"/>
                    </a:cubicBezTo>
                    <a:cubicBezTo>
                      <a:pt x="407878" y="436051"/>
                      <a:pt x="407878" y="423257"/>
                      <a:pt x="415827" y="415319"/>
                    </a:cubicBezTo>
                    <a:cubicBezTo>
                      <a:pt x="501582" y="329682"/>
                      <a:pt x="501582" y="190441"/>
                      <a:pt x="415827" y="104805"/>
                    </a:cubicBezTo>
                    <a:cubicBezTo>
                      <a:pt x="330164" y="19261"/>
                      <a:pt x="190636" y="19261"/>
                      <a:pt x="104973" y="104805"/>
                    </a:cubicBezTo>
                    <a:cubicBezTo>
                      <a:pt x="19218" y="190441"/>
                      <a:pt x="19218" y="329682"/>
                      <a:pt x="104973" y="415319"/>
                    </a:cubicBezTo>
                    <a:cubicBezTo>
                      <a:pt x="112922" y="423257"/>
                      <a:pt x="112922" y="436051"/>
                      <a:pt x="104973" y="443989"/>
                    </a:cubicBezTo>
                    <a:cubicBezTo>
                      <a:pt x="97024" y="451927"/>
                      <a:pt x="84119" y="451927"/>
                      <a:pt x="76170" y="443989"/>
                    </a:cubicBezTo>
                    <a:cubicBezTo>
                      <a:pt x="-25390" y="342570"/>
                      <a:pt x="-25390" y="177554"/>
                      <a:pt x="76170" y="76135"/>
                    </a:cubicBezTo>
                    <a:cubicBezTo>
                      <a:pt x="126950" y="25379"/>
                      <a:pt x="193675" y="0"/>
                      <a:pt x="2604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73DA5CA1-A22D-45FF-B355-18D3880E7B99}"/>
                  </a:ext>
                </a:extLst>
              </p:cNvPr>
              <p:cNvSpPr/>
              <p:nvPr/>
            </p:nvSpPr>
            <p:spPr>
              <a:xfrm>
                <a:off x="9430873" y="3848374"/>
                <a:ext cx="2088027" cy="540405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20000"/>
                  </a:lnSpc>
                </a:pPr>
                <a:r>
                  <a:rPr lang="en-US" altLang="zh-CN" sz="1800" b="1" dirty="0">
                    <a:solidFill>
                      <a:schemeClr val="tx1"/>
                    </a:solidFill>
                  </a:rPr>
                  <a:t>…</a:t>
                </a:r>
                <a:r>
                  <a:rPr lang="zh-CN" altLang="en-US" sz="1800" b="1" dirty="0">
                    <a:solidFill>
                      <a:schemeClr val="tx1"/>
                    </a:solidFill>
                  </a:rPr>
                  <a:t>意义</a:t>
                </a:r>
              </a:p>
            </p:txBody>
          </p:sp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B40F5E8D-FBEB-4054-86D5-66BEF7C4392C}"/>
                  </a:ext>
                </a:extLst>
              </p:cNvPr>
              <p:cNvSpPr txBox="1"/>
              <p:nvPr/>
            </p:nvSpPr>
            <p:spPr>
              <a:xfrm>
                <a:off x="9430872" y="4388779"/>
                <a:ext cx="2088028" cy="12211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/>
                  <a:t>Supporting 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xt </a:t>
                </a:r>
                <a:r>
                  <a:rPr lang="en-US" altLang="zh-CN" sz="1100" dirty="0"/>
                  <a:t>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cxnSp>
            <p:nvCxnSpPr>
              <p:cNvPr id="16" name="直接连接符 15"/>
              <p:cNvCxnSpPr>
                <a:stCxn id="12" idx="2"/>
              </p:cNvCxnSpPr>
              <p:nvPr/>
            </p:nvCxnSpPr>
            <p:spPr>
              <a:xfrm flipV="1">
                <a:off x="10474838" y="1028700"/>
                <a:ext cx="48" cy="1292499"/>
              </a:xfrm>
              <a:prstGeom prst="line">
                <a:avLst/>
              </a:prstGeom>
              <a:ln w="3175" cap="rnd">
                <a:solidFill>
                  <a:schemeClr val="tx1">
                    <a:lumMod val="50000"/>
                    <a:lumOff val="50000"/>
                  </a:schemeClr>
                </a:solidFill>
                <a:round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选题意义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65950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选题意义</a:t>
            </a:r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300"/>
            <a:ext cx="10858500" cy="4514913"/>
            <a:chOff x="660400" y="1130300"/>
            <a:chExt cx="10858500" cy="4514913"/>
          </a:xfrm>
        </p:grpSpPr>
        <p:grpSp>
          <p:nvGrpSpPr>
            <p:cNvPr id="6" name="组合 5"/>
            <p:cNvGrpSpPr/>
            <p:nvPr/>
          </p:nvGrpSpPr>
          <p:grpSpPr>
            <a:xfrm>
              <a:off x="660400" y="2155469"/>
              <a:ext cx="10858500" cy="3489744"/>
              <a:chOff x="660400" y="2060034"/>
              <a:chExt cx="10858500" cy="3489744"/>
            </a:xfrm>
          </p:grpSpPr>
          <p:grpSp>
            <p:nvGrpSpPr>
              <p:cNvPr id="10" name="组合 9"/>
              <p:cNvGrpSpPr/>
              <p:nvPr/>
            </p:nvGrpSpPr>
            <p:grpSpPr>
              <a:xfrm>
                <a:off x="4536133" y="2506458"/>
                <a:ext cx="3107035" cy="2625485"/>
                <a:chOff x="4018522" y="2133103"/>
                <a:chExt cx="4137490" cy="3496234"/>
              </a:xfrm>
            </p:grpSpPr>
            <p:sp>
              <p:nvSpPr>
                <p:cNvPr id="29" name="任意多边形: 形状 28"/>
                <p:cNvSpPr/>
                <p:nvPr/>
              </p:nvSpPr>
              <p:spPr bwMode="auto">
                <a:xfrm>
                  <a:off x="5573308" y="2133103"/>
                  <a:ext cx="1745908" cy="2352655"/>
                </a:xfrm>
                <a:custGeom>
                  <a:avLst/>
                  <a:gdLst>
                    <a:gd name="T0" fmla="*/ 119 w 298"/>
                    <a:gd name="T1" fmla="*/ 292 h 411"/>
                    <a:gd name="T2" fmla="*/ 122 w 298"/>
                    <a:gd name="T3" fmla="*/ 297 h 411"/>
                    <a:gd name="T4" fmla="*/ 288 w 298"/>
                    <a:gd name="T5" fmla="*/ 410 h 411"/>
                    <a:gd name="T6" fmla="*/ 291 w 298"/>
                    <a:gd name="T7" fmla="*/ 411 h 411"/>
                    <a:gd name="T8" fmla="*/ 294 w 298"/>
                    <a:gd name="T9" fmla="*/ 410 h 411"/>
                    <a:gd name="T10" fmla="*/ 297 w 298"/>
                    <a:gd name="T11" fmla="*/ 404 h 411"/>
                    <a:gd name="T12" fmla="*/ 274 w 298"/>
                    <a:gd name="T13" fmla="*/ 205 h 411"/>
                    <a:gd name="T14" fmla="*/ 270 w 298"/>
                    <a:gd name="T15" fmla="*/ 200 h 411"/>
                    <a:gd name="T16" fmla="*/ 264 w 298"/>
                    <a:gd name="T17" fmla="*/ 201 h 411"/>
                    <a:gd name="T18" fmla="*/ 234 w 298"/>
                    <a:gd name="T19" fmla="*/ 219 h 411"/>
                    <a:gd name="T20" fmla="*/ 99 w 298"/>
                    <a:gd name="T21" fmla="*/ 3 h 411"/>
                    <a:gd name="T22" fmla="*/ 94 w 298"/>
                    <a:gd name="T23" fmla="*/ 1 h 411"/>
                    <a:gd name="T24" fmla="*/ 88 w 298"/>
                    <a:gd name="T25" fmla="*/ 3 h 411"/>
                    <a:gd name="T26" fmla="*/ 3 w 298"/>
                    <a:gd name="T27" fmla="*/ 117 h 411"/>
                    <a:gd name="T28" fmla="*/ 4 w 298"/>
                    <a:gd name="T29" fmla="*/ 126 h 411"/>
                    <a:gd name="T30" fmla="*/ 13 w 298"/>
                    <a:gd name="T31" fmla="*/ 125 h 411"/>
                    <a:gd name="T32" fmla="*/ 93 w 298"/>
                    <a:gd name="T33" fmla="*/ 18 h 411"/>
                    <a:gd name="T34" fmla="*/ 223 w 298"/>
                    <a:gd name="T35" fmla="*/ 226 h 411"/>
                    <a:gd name="T36" fmla="*/ 200 w 298"/>
                    <a:gd name="T37" fmla="*/ 240 h 411"/>
                    <a:gd name="T38" fmla="*/ 96 w 298"/>
                    <a:gd name="T39" fmla="*/ 73 h 411"/>
                    <a:gd name="T40" fmla="*/ 91 w 298"/>
                    <a:gd name="T41" fmla="*/ 70 h 411"/>
                    <a:gd name="T42" fmla="*/ 85 w 298"/>
                    <a:gd name="T43" fmla="*/ 73 h 411"/>
                    <a:gd name="T44" fmla="*/ 34 w 298"/>
                    <a:gd name="T45" fmla="*/ 141 h 411"/>
                    <a:gd name="T46" fmla="*/ 35 w 298"/>
                    <a:gd name="T47" fmla="*/ 150 h 411"/>
                    <a:gd name="T48" fmla="*/ 44 w 298"/>
                    <a:gd name="T49" fmla="*/ 148 h 411"/>
                    <a:gd name="T50" fmla="*/ 90 w 298"/>
                    <a:gd name="T51" fmla="*/ 88 h 411"/>
                    <a:gd name="T52" fmla="*/ 189 w 298"/>
                    <a:gd name="T53" fmla="*/ 246 h 411"/>
                    <a:gd name="T54" fmla="*/ 166 w 298"/>
                    <a:gd name="T55" fmla="*/ 260 h 411"/>
                    <a:gd name="T56" fmla="*/ 93 w 298"/>
                    <a:gd name="T57" fmla="*/ 143 h 411"/>
                    <a:gd name="T58" fmla="*/ 88 w 298"/>
                    <a:gd name="T59" fmla="*/ 140 h 411"/>
                    <a:gd name="T60" fmla="*/ 82 w 298"/>
                    <a:gd name="T61" fmla="*/ 143 h 411"/>
                    <a:gd name="T62" fmla="*/ 66 w 298"/>
                    <a:gd name="T63" fmla="*/ 165 h 411"/>
                    <a:gd name="T64" fmla="*/ 67 w 298"/>
                    <a:gd name="T65" fmla="*/ 174 h 411"/>
                    <a:gd name="T66" fmla="*/ 76 w 298"/>
                    <a:gd name="T67" fmla="*/ 172 h 411"/>
                    <a:gd name="T68" fmla="*/ 87 w 298"/>
                    <a:gd name="T69" fmla="*/ 157 h 411"/>
                    <a:gd name="T70" fmla="*/ 155 w 298"/>
                    <a:gd name="T71" fmla="*/ 267 h 411"/>
                    <a:gd name="T72" fmla="*/ 122 w 298"/>
                    <a:gd name="T73" fmla="*/ 287 h 411"/>
                    <a:gd name="T74" fmla="*/ 119 w 298"/>
                    <a:gd name="T75" fmla="*/ 292 h 411"/>
                    <a:gd name="T76" fmla="*/ 262 w 298"/>
                    <a:gd name="T77" fmla="*/ 216 h 411"/>
                    <a:gd name="T78" fmla="*/ 283 w 298"/>
                    <a:gd name="T79" fmla="*/ 392 h 411"/>
                    <a:gd name="T80" fmla="*/ 137 w 298"/>
                    <a:gd name="T81" fmla="*/ 293 h 411"/>
                    <a:gd name="T82" fmla="*/ 262 w 298"/>
                    <a:gd name="T83" fmla="*/ 216 h 4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98" h="411">
                      <a:moveTo>
                        <a:pt x="119" y="292"/>
                      </a:moveTo>
                      <a:cubicBezTo>
                        <a:pt x="119" y="294"/>
                        <a:pt x="120" y="296"/>
                        <a:pt x="122" y="297"/>
                      </a:cubicBezTo>
                      <a:cubicBezTo>
                        <a:pt x="288" y="410"/>
                        <a:pt x="288" y="410"/>
                        <a:pt x="288" y="410"/>
                      </a:cubicBezTo>
                      <a:cubicBezTo>
                        <a:pt x="289" y="410"/>
                        <a:pt x="290" y="411"/>
                        <a:pt x="291" y="411"/>
                      </a:cubicBezTo>
                      <a:cubicBezTo>
                        <a:pt x="292" y="411"/>
                        <a:pt x="293" y="410"/>
                        <a:pt x="294" y="410"/>
                      </a:cubicBezTo>
                      <a:cubicBezTo>
                        <a:pt x="296" y="409"/>
                        <a:pt x="298" y="406"/>
                        <a:pt x="297" y="404"/>
                      </a:cubicBezTo>
                      <a:cubicBezTo>
                        <a:pt x="274" y="205"/>
                        <a:pt x="274" y="205"/>
                        <a:pt x="274" y="205"/>
                      </a:cubicBezTo>
                      <a:cubicBezTo>
                        <a:pt x="273" y="203"/>
                        <a:pt x="272" y="201"/>
                        <a:pt x="270" y="200"/>
                      </a:cubicBezTo>
                      <a:cubicBezTo>
                        <a:pt x="268" y="199"/>
                        <a:pt x="266" y="199"/>
                        <a:pt x="264" y="201"/>
                      </a:cubicBezTo>
                      <a:cubicBezTo>
                        <a:pt x="234" y="219"/>
                        <a:pt x="234" y="219"/>
                        <a:pt x="234" y="219"/>
                      </a:cubicBezTo>
                      <a:cubicBezTo>
                        <a:pt x="99" y="3"/>
                        <a:pt x="99" y="3"/>
                        <a:pt x="99" y="3"/>
                      </a:cubicBezTo>
                      <a:cubicBezTo>
                        <a:pt x="98" y="2"/>
                        <a:pt x="96" y="1"/>
                        <a:pt x="94" y="1"/>
                      </a:cubicBezTo>
                      <a:cubicBezTo>
                        <a:pt x="92" y="0"/>
                        <a:pt x="90" y="1"/>
                        <a:pt x="88" y="3"/>
                      </a:cubicBezTo>
                      <a:cubicBezTo>
                        <a:pt x="3" y="117"/>
                        <a:pt x="3" y="117"/>
                        <a:pt x="3" y="117"/>
                      </a:cubicBezTo>
                      <a:cubicBezTo>
                        <a:pt x="0" y="120"/>
                        <a:pt x="1" y="124"/>
                        <a:pt x="4" y="126"/>
                      </a:cubicBezTo>
                      <a:cubicBezTo>
                        <a:pt x="7" y="128"/>
                        <a:pt x="10" y="127"/>
                        <a:pt x="13" y="125"/>
                      </a:cubicBezTo>
                      <a:cubicBezTo>
                        <a:pt x="93" y="18"/>
                        <a:pt x="93" y="18"/>
                        <a:pt x="93" y="18"/>
                      </a:cubicBezTo>
                      <a:cubicBezTo>
                        <a:pt x="223" y="226"/>
                        <a:pt x="223" y="226"/>
                        <a:pt x="223" y="226"/>
                      </a:cubicBezTo>
                      <a:cubicBezTo>
                        <a:pt x="200" y="240"/>
                        <a:pt x="200" y="240"/>
                        <a:pt x="200" y="240"/>
                      </a:cubicBezTo>
                      <a:cubicBezTo>
                        <a:pt x="96" y="73"/>
                        <a:pt x="96" y="73"/>
                        <a:pt x="96" y="73"/>
                      </a:cubicBezTo>
                      <a:cubicBezTo>
                        <a:pt x="95" y="72"/>
                        <a:pt x="93" y="70"/>
                        <a:pt x="91" y="70"/>
                      </a:cubicBezTo>
                      <a:cubicBezTo>
                        <a:pt x="89" y="70"/>
                        <a:pt x="87" y="71"/>
                        <a:pt x="85" y="73"/>
                      </a:cubicBezTo>
                      <a:cubicBezTo>
                        <a:pt x="34" y="141"/>
                        <a:pt x="34" y="141"/>
                        <a:pt x="34" y="141"/>
                      </a:cubicBezTo>
                      <a:cubicBezTo>
                        <a:pt x="32" y="144"/>
                        <a:pt x="33" y="148"/>
                        <a:pt x="35" y="150"/>
                      </a:cubicBezTo>
                      <a:cubicBezTo>
                        <a:pt x="38" y="152"/>
                        <a:pt x="42" y="151"/>
                        <a:pt x="44" y="148"/>
                      </a:cubicBezTo>
                      <a:cubicBezTo>
                        <a:pt x="90" y="88"/>
                        <a:pt x="90" y="88"/>
                        <a:pt x="90" y="88"/>
                      </a:cubicBezTo>
                      <a:cubicBezTo>
                        <a:pt x="189" y="246"/>
                        <a:pt x="189" y="246"/>
                        <a:pt x="189" y="246"/>
                      </a:cubicBezTo>
                      <a:cubicBezTo>
                        <a:pt x="166" y="260"/>
                        <a:pt x="166" y="260"/>
                        <a:pt x="166" y="260"/>
                      </a:cubicBezTo>
                      <a:cubicBezTo>
                        <a:pt x="93" y="143"/>
                        <a:pt x="93" y="143"/>
                        <a:pt x="93" y="143"/>
                      </a:cubicBezTo>
                      <a:cubicBezTo>
                        <a:pt x="92" y="141"/>
                        <a:pt x="90" y="140"/>
                        <a:pt x="88" y="140"/>
                      </a:cubicBezTo>
                      <a:cubicBezTo>
                        <a:pt x="86" y="140"/>
                        <a:pt x="84" y="141"/>
                        <a:pt x="82" y="143"/>
                      </a:cubicBezTo>
                      <a:cubicBezTo>
                        <a:pt x="66" y="165"/>
                        <a:pt x="66" y="165"/>
                        <a:pt x="66" y="165"/>
                      </a:cubicBezTo>
                      <a:cubicBezTo>
                        <a:pt x="64" y="167"/>
                        <a:pt x="64" y="171"/>
                        <a:pt x="67" y="174"/>
                      </a:cubicBezTo>
                      <a:cubicBezTo>
                        <a:pt x="70" y="176"/>
                        <a:pt x="74" y="175"/>
                        <a:pt x="76" y="172"/>
                      </a:cubicBezTo>
                      <a:cubicBezTo>
                        <a:pt x="87" y="157"/>
                        <a:pt x="87" y="157"/>
                        <a:pt x="87" y="157"/>
                      </a:cubicBezTo>
                      <a:cubicBezTo>
                        <a:pt x="155" y="267"/>
                        <a:pt x="155" y="267"/>
                        <a:pt x="155" y="267"/>
                      </a:cubicBezTo>
                      <a:cubicBezTo>
                        <a:pt x="122" y="287"/>
                        <a:pt x="122" y="287"/>
                        <a:pt x="122" y="287"/>
                      </a:cubicBezTo>
                      <a:cubicBezTo>
                        <a:pt x="121" y="288"/>
                        <a:pt x="119" y="290"/>
                        <a:pt x="119" y="292"/>
                      </a:cubicBezTo>
                      <a:close/>
                      <a:moveTo>
                        <a:pt x="262" y="216"/>
                      </a:moveTo>
                      <a:cubicBezTo>
                        <a:pt x="283" y="392"/>
                        <a:pt x="283" y="392"/>
                        <a:pt x="283" y="392"/>
                      </a:cubicBezTo>
                      <a:cubicBezTo>
                        <a:pt x="137" y="293"/>
                        <a:pt x="137" y="293"/>
                        <a:pt x="137" y="293"/>
                      </a:cubicBezTo>
                      <a:lnTo>
                        <a:pt x="262" y="216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/>
                </a:p>
              </p:txBody>
            </p:sp>
            <p:sp>
              <p:nvSpPr>
                <p:cNvPr id="30" name="任意多边形: 形状 29"/>
                <p:cNvSpPr/>
                <p:nvPr/>
              </p:nvSpPr>
              <p:spPr bwMode="auto">
                <a:xfrm>
                  <a:off x="5170405" y="4470643"/>
                  <a:ext cx="2985607" cy="1158694"/>
                </a:xfrm>
                <a:custGeom>
                  <a:avLst/>
                  <a:gdLst>
                    <a:gd name="T0" fmla="*/ 507 w 509"/>
                    <a:gd name="T1" fmla="*/ 150 h 203"/>
                    <a:gd name="T2" fmla="*/ 416 w 509"/>
                    <a:gd name="T3" fmla="*/ 3 h 203"/>
                    <a:gd name="T4" fmla="*/ 408 w 509"/>
                    <a:gd name="T5" fmla="*/ 1 h 203"/>
                    <a:gd name="T6" fmla="*/ 406 w 509"/>
                    <a:gd name="T7" fmla="*/ 10 h 203"/>
                    <a:gd name="T8" fmla="*/ 491 w 509"/>
                    <a:gd name="T9" fmla="*/ 147 h 203"/>
                    <a:gd name="T10" fmla="*/ 194 w 509"/>
                    <a:gd name="T11" fmla="*/ 147 h 203"/>
                    <a:gd name="T12" fmla="*/ 194 w 509"/>
                    <a:gd name="T13" fmla="*/ 120 h 203"/>
                    <a:gd name="T14" fmla="*/ 431 w 509"/>
                    <a:gd name="T15" fmla="*/ 120 h 203"/>
                    <a:gd name="T16" fmla="*/ 436 w 509"/>
                    <a:gd name="T17" fmla="*/ 116 h 203"/>
                    <a:gd name="T18" fmla="*/ 436 w 509"/>
                    <a:gd name="T19" fmla="*/ 110 h 203"/>
                    <a:gd name="T20" fmla="*/ 383 w 509"/>
                    <a:gd name="T21" fmla="*/ 24 h 203"/>
                    <a:gd name="T22" fmla="*/ 374 w 509"/>
                    <a:gd name="T23" fmla="*/ 22 h 203"/>
                    <a:gd name="T24" fmla="*/ 372 w 509"/>
                    <a:gd name="T25" fmla="*/ 31 h 203"/>
                    <a:gd name="T26" fmla="*/ 419 w 509"/>
                    <a:gd name="T27" fmla="*/ 107 h 203"/>
                    <a:gd name="T28" fmla="*/ 194 w 509"/>
                    <a:gd name="T29" fmla="*/ 107 h 203"/>
                    <a:gd name="T30" fmla="*/ 194 w 509"/>
                    <a:gd name="T31" fmla="*/ 80 h 203"/>
                    <a:gd name="T32" fmla="*/ 359 w 509"/>
                    <a:gd name="T33" fmla="*/ 80 h 203"/>
                    <a:gd name="T34" fmla="*/ 365 w 509"/>
                    <a:gd name="T35" fmla="*/ 77 h 203"/>
                    <a:gd name="T36" fmla="*/ 365 w 509"/>
                    <a:gd name="T37" fmla="*/ 70 h 203"/>
                    <a:gd name="T38" fmla="*/ 349 w 509"/>
                    <a:gd name="T39" fmla="*/ 45 h 203"/>
                    <a:gd name="T40" fmla="*/ 340 w 509"/>
                    <a:gd name="T41" fmla="*/ 43 h 203"/>
                    <a:gd name="T42" fmla="*/ 338 w 509"/>
                    <a:gd name="T43" fmla="*/ 52 h 203"/>
                    <a:gd name="T44" fmla="*/ 348 w 509"/>
                    <a:gd name="T45" fmla="*/ 67 h 203"/>
                    <a:gd name="T46" fmla="*/ 194 w 509"/>
                    <a:gd name="T47" fmla="*/ 67 h 203"/>
                    <a:gd name="T48" fmla="*/ 194 w 509"/>
                    <a:gd name="T49" fmla="*/ 30 h 203"/>
                    <a:gd name="T50" fmla="*/ 191 w 509"/>
                    <a:gd name="T51" fmla="*/ 25 h 203"/>
                    <a:gd name="T52" fmla="*/ 185 w 509"/>
                    <a:gd name="T53" fmla="*/ 25 h 203"/>
                    <a:gd name="T54" fmla="*/ 3 w 509"/>
                    <a:gd name="T55" fmla="*/ 108 h 203"/>
                    <a:gd name="T56" fmla="*/ 0 w 509"/>
                    <a:gd name="T57" fmla="*/ 113 h 203"/>
                    <a:gd name="T58" fmla="*/ 3 w 509"/>
                    <a:gd name="T59" fmla="*/ 119 h 203"/>
                    <a:gd name="T60" fmla="*/ 185 w 509"/>
                    <a:gd name="T61" fmla="*/ 202 h 203"/>
                    <a:gd name="T62" fmla="*/ 188 w 509"/>
                    <a:gd name="T63" fmla="*/ 203 h 203"/>
                    <a:gd name="T64" fmla="*/ 191 w 509"/>
                    <a:gd name="T65" fmla="*/ 202 h 203"/>
                    <a:gd name="T66" fmla="*/ 194 w 509"/>
                    <a:gd name="T67" fmla="*/ 196 h 203"/>
                    <a:gd name="T68" fmla="*/ 194 w 509"/>
                    <a:gd name="T69" fmla="*/ 159 h 203"/>
                    <a:gd name="T70" fmla="*/ 502 w 509"/>
                    <a:gd name="T71" fmla="*/ 159 h 203"/>
                    <a:gd name="T72" fmla="*/ 507 w 509"/>
                    <a:gd name="T73" fmla="*/ 156 h 203"/>
                    <a:gd name="T74" fmla="*/ 507 w 509"/>
                    <a:gd name="T75" fmla="*/ 150 h 203"/>
                    <a:gd name="T76" fmla="*/ 182 w 509"/>
                    <a:gd name="T77" fmla="*/ 187 h 203"/>
                    <a:gd name="T78" fmla="*/ 21 w 509"/>
                    <a:gd name="T79" fmla="*/ 113 h 203"/>
                    <a:gd name="T80" fmla="*/ 182 w 509"/>
                    <a:gd name="T81" fmla="*/ 40 h 203"/>
                    <a:gd name="T82" fmla="*/ 182 w 509"/>
                    <a:gd name="T83" fmla="*/ 187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09" h="203">
                      <a:moveTo>
                        <a:pt x="507" y="150"/>
                      </a:moveTo>
                      <a:cubicBezTo>
                        <a:pt x="416" y="3"/>
                        <a:pt x="416" y="3"/>
                        <a:pt x="416" y="3"/>
                      </a:cubicBezTo>
                      <a:cubicBezTo>
                        <a:pt x="414" y="0"/>
                        <a:pt x="411" y="0"/>
                        <a:pt x="408" y="1"/>
                      </a:cubicBezTo>
                      <a:cubicBezTo>
                        <a:pt x="405" y="3"/>
                        <a:pt x="404" y="7"/>
                        <a:pt x="406" y="10"/>
                      </a:cubicBezTo>
                      <a:cubicBezTo>
                        <a:pt x="491" y="147"/>
                        <a:pt x="491" y="147"/>
                        <a:pt x="491" y="147"/>
                      </a:cubicBezTo>
                      <a:cubicBezTo>
                        <a:pt x="194" y="147"/>
                        <a:pt x="194" y="147"/>
                        <a:pt x="194" y="147"/>
                      </a:cubicBezTo>
                      <a:cubicBezTo>
                        <a:pt x="194" y="120"/>
                        <a:pt x="194" y="120"/>
                        <a:pt x="194" y="120"/>
                      </a:cubicBezTo>
                      <a:cubicBezTo>
                        <a:pt x="431" y="120"/>
                        <a:pt x="431" y="120"/>
                        <a:pt x="431" y="120"/>
                      </a:cubicBezTo>
                      <a:cubicBezTo>
                        <a:pt x="433" y="120"/>
                        <a:pt x="435" y="118"/>
                        <a:pt x="436" y="116"/>
                      </a:cubicBezTo>
                      <a:cubicBezTo>
                        <a:pt x="437" y="114"/>
                        <a:pt x="437" y="112"/>
                        <a:pt x="436" y="110"/>
                      </a:cubicBezTo>
                      <a:cubicBezTo>
                        <a:pt x="383" y="24"/>
                        <a:pt x="383" y="24"/>
                        <a:pt x="383" y="24"/>
                      </a:cubicBezTo>
                      <a:cubicBezTo>
                        <a:pt x="381" y="21"/>
                        <a:pt x="377" y="20"/>
                        <a:pt x="374" y="22"/>
                      </a:cubicBezTo>
                      <a:cubicBezTo>
                        <a:pt x="371" y="24"/>
                        <a:pt x="370" y="28"/>
                        <a:pt x="372" y="31"/>
                      </a:cubicBezTo>
                      <a:cubicBezTo>
                        <a:pt x="419" y="107"/>
                        <a:pt x="419" y="107"/>
                        <a:pt x="419" y="107"/>
                      </a:cubicBezTo>
                      <a:cubicBezTo>
                        <a:pt x="194" y="107"/>
                        <a:pt x="194" y="107"/>
                        <a:pt x="194" y="107"/>
                      </a:cubicBezTo>
                      <a:cubicBezTo>
                        <a:pt x="194" y="80"/>
                        <a:pt x="194" y="80"/>
                        <a:pt x="194" y="80"/>
                      </a:cubicBezTo>
                      <a:cubicBezTo>
                        <a:pt x="359" y="80"/>
                        <a:pt x="359" y="80"/>
                        <a:pt x="359" y="80"/>
                      </a:cubicBezTo>
                      <a:cubicBezTo>
                        <a:pt x="362" y="80"/>
                        <a:pt x="364" y="79"/>
                        <a:pt x="365" y="77"/>
                      </a:cubicBezTo>
                      <a:cubicBezTo>
                        <a:pt x="366" y="75"/>
                        <a:pt x="366" y="72"/>
                        <a:pt x="365" y="70"/>
                      </a:cubicBezTo>
                      <a:cubicBezTo>
                        <a:pt x="349" y="45"/>
                        <a:pt x="349" y="45"/>
                        <a:pt x="349" y="45"/>
                      </a:cubicBezTo>
                      <a:cubicBezTo>
                        <a:pt x="347" y="42"/>
                        <a:pt x="343" y="41"/>
                        <a:pt x="340" y="43"/>
                      </a:cubicBezTo>
                      <a:cubicBezTo>
                        <a:pt x="337" y="45"/>
                        <a:pt x="337" y="49"/>
                        <a:pt x="338" y="52"/>
                      </a:cubicBezTo>
                      <a:cubicBezTo>
                        <a:pt x="348" y="67"/>
                        <a:pt x="348" y="67"/>
                        <a:pt x="348" y="67"/>
                      </a:cubicBezTo>
                      <a:cubicBezTo>
                        <a:pt x="194" y="67"/>
                        <a:pt x="194" y="67"/>
                        <a:pt x="194" y="67"/>
                      </a:cubicBezTo>
                      <a:cubicBezTo>
                        <a:pt x="194" y="30"/>
                        <a:pt x="194" y="30"/>
                        <a:pt x="194" y="30"/>
                      </a:cubicBezTo>
                      <a:cubicBezTo>
                        <a:pt x="194" y="28"/>
                        <a:pt x="193" y="26"/>
                        <a:pt x="191" y="25"/>
                      </a:cubicBezTo>
                      <a:cubicBezTo>
                        <a:pt x="190" y="24"/>
                        <a:pt x="187" y="24"/>
                        <a:pt x="185" y="25"/>
                      </a:cubicBezTo>
                      <a:cubicBezTo>
                        <a:pt x="3" y="108"/>
                        <a:pt x="3" y="108"/>
                        <a:pt x="3" y="108"/>
                      </a:cubicBezTo>
                      <a:cubicBezTo>
                        <a:pt x="1" y="109"/>
                        <a:pt x="0" y="111"/>
                        <a:pt x="0" y="113"/>
                      </a:cubicBezTo>
                      <a:cubicBezTo>
                        <a:pt x="0" y="116"/>
                        <a:pt x="1" y="118"/>
                        <a:pt x="3" y="119"/>
                      </a:cubicBezTo>
                      <a:cubicBezTo>
                        <a:pt x="185" y="202"/>
                        <a:pt x="185" y="202"/>
                        <a:pt x="185" y="202"/>
                      </a:cubicBezTo>
                      <a:cubicBezTo>
                        <a:pt x="186" y="202"/>
                        <a:pt x="187" y="203"/>
                        <a:pt x="188" y="203"/>
                      </a:cubicBezTo>
                      <a:cubicBezTo>
                        <a:pt x="189" y="203"/>
                        <a:pt x="190" y="202"/>
                        <a:pt x="191" y="202"/>
                      </a:cubicBezTo>
                      <a:cubicBezTo>
                        <a:pt x="193" y="200"/>
                        <a:pt x="194" y="198"/>
                        <a:pt x="194" y="196"/>
                      </a:cubicBezTo>
                      <a:cubicBezTo>
                        <a:pt x="194" y="159"/>
                        <a:pt x="194" y="159"/>
                        <a:pt x="194" y="159"/>
                      </a:cubicBezTo>
                      <a:cubicBezTo>
                        <a:pt x="502" y="159"/>
                        <a:pt x="502" y="159"/>
                        <a:pt x="502" y="159"/>
                      </a:cubicBezTo>
                      <a:cubicBezTo>
                        <a:pt x="504" y="159"/>
                        <a:pt x="506" y="158"/>
                        <a:pt x="507" y="156"/>
                      </a:cubicBezTo>
                      <a:cubicBezTo>
                        <a:pt x="509" y="154"/>
                        <a:pt x="508" y="152"/>
                        <a:pt x="507" y="150"/>
                      </a:cubicBezTo>
                      <a:close/>
                      <a:moveTo>
                        <a:pt x="182" y="187"/>
                      </a:moveTo>
                      <a:cubicBezTo>
                        <a:pt x="21" y="113"/>
                        <a:pt x="21" y="113"/>
                        <a:pt x="21" y="113"/>
                      </a:cubicBezTo>
                      <a:cubicBezTo>
                        <a:pt x="182" y="40"/>
                        <a:pt x="182" y="40"/>
                        <a:pt x="182" y="40"/>
                      </a:cubicBezTo>
                      <a:lnTo>
                        <a:pt x="182" y="187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/>
                </a:p>
              </p:txBody>
            </p:sp>
            <p:sp>
              <p:nvSpPr>
                <p:cNvPr id="31" name="任意多边形: 形状 30"/>
                <p:cNvSpPr/>
                <p:nvPr/>
              </p:nvSpPr>
              <p:spPr bwMode="auto">
                <a:xfrm>
                  <a:off x="4018522" y="3100360"/>
                  <a:ext cx="1761406" cy="2272051"/>
                </a:xfrm>
                <a:custGeom>
                  <a:avLst/>
                  <a:gdLst>
                    <a:gd name="T0" fmla="*/ 177 w 300"/>
                    <a:gd name="T1" fmla="*/ 305 h 397"/>
                    <a:gd name="T2" fmla="*/ 161 w 300"/>
                    <a:gd name="T3" fmla="*/ 305 h 397"/>
                    <a:gd name="T4" fmla="*/ 232 w 300"/>
                    <a:gd name="T5" fmla="*/ 190 h 397"/>
                    <a:gd name="T6" fmla="*/ 265 w 300"/>
                    <a:gd name="T7" fmla="*/ 211 h 397"/>
                    <a:gd name="T8" fmla="*/ 269 w 300"/>
                    <a:gd name="T9" fmla="*/ 212 h 397"/>
                    <a:gd name="T10" fmla="*/ 271 w 300"/>
                    <a:gd name="T11" fmla="*/ 211 h 397"/>
                    <a:gd name="T12" fmla="*/ 275 w 300"/>
                    <a:gd name="T13" fmla="*/ 206 h 397"/>
                    <a:gd name="T14" fmla="*/ 300 w 300"/>
                    <a:gd name="T15" fmla="*/ 8 h 397"/>
                    <a:gd name="T16" fmla="*/ 297 w 300"/>
                    <a:gd name="T17" fmla="*/ 2 h 397"/>
                    <a:gd name="T18" fmla="*/ 290 w 300"/>
                    <a:gd name="T19" fmla="*/ 2 h 397"/>
                    <a:gd name="T20" fmla="*/ 124 w 300"/>
                    <a:gd name="T21" fmla="*/ 113 h 397"/>
                    <a:gd name="T22" fmla="*/ 121 w 300"/>
                    <a:gd name="T23" fmla="*/ 119 h 397"/>
                    <a:gd name="T24" fmla="*/ 124 w 300"/>
                    <a:gd name="T25" fmla="*/ 124 h 397"/>
                    <a:gd name="T26" fmla="*/ 154 w 300"/>
                    <a:gd name="T27" fmla="*/ 142 h 397"/>
                    <a:gd name="T28" fmla="*/ 2 w 300"/>
                    <a:gd name="T29" fmla="*/ 387 h 397"/>
                    <a:gd name="T30" fmla="*/ 2 w 300"/>
                    <a:gd name="T31" fmla="*/ 393 h 397"/>
                    <a:gd name="T32" fmla="*/ 7 w 300"/>
                    <a:gd name="T33" fmla="*/ 397 h 397"/>
                    <a:gd name="T34" fmla="*/ 163 w 300"/>
                    <a:gd name="T35" fmla="*/ 397 h 397"/>
                    <a:gd name="T36" fmla="*/ 169 w 300"/>
                    <a:gd name="T37" fmla="*/ 390 h 397"/>
                    <a:gd name="T38" fmla="*/ 163 w 300"/>
                    <a:gd name="T39" fmla="*/ 384 h 397"/>
                    <a:gd name="T40" fmla="*/ 18 w 300"/>
                    <a:gd name="T41" fmla="*/ 384 h 397"/>
                    <a:gd name="T42" fmla="*/ 165 w 300"/>
                    <a:gd name="T43" fmla="*/ 149 h 397"/>
                    <a:gd name="T44" fmla="*/ 188 w 300"/>
                    <a:gd name="T45" fmla="*/ 163 h 397"/>
                    <a:gd name="T46" fmla="*/ 73 w 300"/>
                    <a:gd name="T47" fmla="*/ 347 h 397"/>
                    <a:gd name="T48" fmla="*/ 73 w 300"/>
                    <a:gd name="T49" fmla="*/ 354 h 397"/>
                    <a:gd name="T50" fmla="*/ 78 w 300"/>
                    <a:gd name="T51" fmla="*/ 357 h 397"/>
                    <a:gd name="T52" fmla="*/ 170 w 300"/>
                    <a:gd name="T53" fmla="*/ 357 h 397"/>
                    <a:gd name="T54" fmla="*/ 176 w 300"/>
                    <a:gd name="T55" fmla="*/ 351 h 397"/>
                    <a:gd name="T56" fmla="*/ 170 w 300"/>
                    <a:gd name="T57" fmla="*/ 344 h 397"/>
                    <a:gd name="T58" fmla="*/ 90 w 300"/>
                    <a:gd name="T59" fmla="*/ 344 h 397"/>
                    <a:gd name="T60" fmla="*/ 199 w 300"/>
                    <a:gd name="T61" fmla="*/ 170 h 397"/>
                    <a:gd name="T62" fmla="*/ 222 w 300"/>
                    <a:gd name="T63" fmla="*/ 184 h 397"/>
                    <a:gd name="T64" fmla="*/ 144 w 300"/>
                    <a:gd name="T65" fmla="*/ 308 h 397"/>
                    <a:gd name="T66" fmla="*/ 144 w 300"/>
                    <a:gd name="T67" fmla="*/ 314 h 397"/>
                    <a:gd name="T68" fmla="*/ 150 w 300"/>
                    <a:gd name="T69" fmla="*/ 317 h 397"/>
                    <a:gd name="T70" fmla="*/ 177 w 300"/>
                    <a:gd name="T71" fmla="*/ 317 h 397"/>
                    <a:gd name="T72" fmla="*/ 183 w 300"/>
                    <a:gd name="T73" fmla="*/ 311 h 397"/>
                    <a:gd name="T74" fmla="*/ 177 w 300"/>
                    <a:gd name="T75" fmla="*/ 305 h 397"/>
                    <a:gd name="T76" fmla="*/ 285 w 300"/>
                    <a:gd name="T77" fmla="*/ 20 h 397"/>
                    <a:gd name="T78" fmla="*/ 264 w 300"/>
                    <a:gd name="T79" fmla="*/ 195 h 397"/>
                    <a:gd name="T80" fmla="*/ 234 w 300"/>
                    <a:gd name="T81" fmla="*/ 177 h 397"/>
                    <a:gd name="T82" fmla="*/ 234 w 300"/>
                    <a:gd name="T83" fmla="*/ 176 h 397"/>
                    <a:gd name="T84" fmla="*/ 233 w 300"/>
                    <a:gd name="T85" fmla="*/ 176 h 397"/>
                    <a:gd name="T86" fmla="*/ 202 w 300"/>
                    <a:gd name="T87" fmla="*/ 157 h 397"/>
                    <a:gd name="T88" fmla="*/ 200 w 300"/>
                    <a:gd name="T89" fmla="*/ 155 h 397"/>
                    <a:gd name="T90" fmla="*/ 198 w 300"/>
                    <a:gd name="T91" fmla="*/ 155 h 397"/>
                    <a:gd name="T92" fmla="*/ 168 w 300"/>
                    <a:gd name="T93" fmla="*/ 136 h 397"/>
                    <a:gd name="T94" fmla="*/ 166 w 300"/>
                    <a:gd name="T95" fmla="*/ 134 h 397"/>
                    <a:gd name="T96" fmla="*/ 164 w 300"/>
                    <a:gd name="T97" fmla="*/ 134 h 397"/>
                    <a:gd name="T98" fmla="*/ 139 w 300"/>
                    <a:gd name="T99" fmla="*/ 118 h 397"/>
                    <a:gd name="T100" fmla="*/ 285 w 300"/>
                    <a:gd name="T101" fmla="*/ 20 h 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00" h="397">
                      <a:moveTo>
                        <a:pt x="177" y="305"/>
                      </a:moveTo>
                      <a:cubicBezTo>
                        <a:pt x="161" y="305"/>
                        <a:pt x="161" y="305"/>
                        <a:pt x="161" y="305"/>
                      </a:cubicBezTo>
                      <a:cubicBezTo>
                        <a:pt x="232" y="190"/>
                        <a:pt x="232" y="190"/>
                        <a:pt x="232" y="190"/>
                      </a:cubicBezTo>
                      <a:cubicBezTo>
                        <a:pt x="265" y="211"/>
                        <a:pt x="265" y="211"/>
                        <a:pt x="265" y="211"/>
                      </a:cubicBezTo>
                      <a:cubicBezTo>
                        <a:pt x="266" y="211"/>
                        <a:pt x="268" y="212"/>
                        <a:pt x="269" y="212"/>
                      </a:cubicBezTo>
                      <a:cubicBezTo>
                        <a:pt x="270" y="212"/>
                        <a:pt x="271" y="212"/>
                        <a:pt x="271" y="211"/>
                      </a:cubicBezTo>
                      <a:cubicBezTo>
                        <a:pt x="273" y="210"/>
                        <a:pt x="275" y="208"/>
                        <a:pt x="275" y="206"/>
                      </a:cubicBezTo>
                      <a:cubicBezTo>
                        <a:pt x="300" y="8"/>
                        <a:pt x="300" y="8"/>
                        <a:pt x="300" y="8"/>
                      </a:cubicBezTo>
                      <a:cubicBezTo>
                        <a:pt x="300" y="5"/>
                        <a:pt x="299" y="3"/>
                        <a:pt x="297" y="2"/>
                      </a:cubicBezTo>
                      <a:cubicBezTo>
                        <a:pt x="295" y="0"/>
                        <a:pt x="292" y="0"/>
                        <a:pt x="290" y="2"/>
                      </a:cubicBezTo>
                      <a:cubicBezTo>
                        <a:pt x="124" y="113"/>
                        <a:pt x="124" y="113"/>
                        <a:pt x="124" y="113"/>
                      </a:cubicBezTo>
                      <a:cubicBezTo>
                        <a:pt x="122" y="114"/>
                        <a:pt x="121" y="116"/>
                        <a:pt x="121" y="119"/>
                      </a:cubicBezTo>
                      <a:cubicBezTo>
                        <a:pt x="121" y="121"/>
                        <a:pt x="122" y="123"/>
                        <a:pt x="124" y="124"/>
                      </a:cubicBezTo>
                      <a:cubicBezTo>
                        <a:pt x="154" y="142"/>
                        <a:pt x="154" y="142"/>
                        <a:pt x="154" y="142"/>
                      </a:cubicBezTo>
                      <a:cubicBezTo>
                        <a:pt x="2" y="387"/>
                        <a:pt x="2" y="387"/>
                        <a:pt x="2" y="387"/>
                      </a:cubicBezTo>
                      <a:cubicBezTo>
                        <a:pt x="1" y="389"/>
                        <a:pt x="0" y="391"/>
                        <a:pt x="2" y="393"/>
                      </a:cubicBezTo>
                      <a:cubicBezTo>
                        <a:pt x="3" y="395"/>
                        <a:pt x="5" y="397"/>
                        <a:pt x="7" y="397"/>
                      </a:cubicBezTo>
                      <a:cubicBezTo>
                        <a:pt x="163" y="397"/>
                        <a:pt x="163" y="397"/>
                        <a:pt x="163" y="397"/>
                      </a:cubicBezTo>
                      <a:cubicBezTo>
                        <a:pt x="166" y="397"/>
                        <a:pt x="169" y="394"/>
                        <a:pt x="169" y="390"/>
                      </a:cubicBezTo>
                      <a:cubicBezTo>
                        <a:pt x="169" y="387"/>
                        <a:pt x="166" y="384"/>
                        <a:pt x="163" y="384"/>
                      </a:cubicBezTo>
                      <a:cubicBezTo>
                        <a:pt x="18" y="384"/>
                        <a:pt x="18" y="384"/>
                        <a:pt x="18" y="384"/>
                      </a:cubicBezTo>
                      <a:cubicBezTo>
                        <a:pt x="165" y="149"/>
                        <a:pt x="165" y="149"/>
                        <a:pt x="165" y="149"/>
                      </a:cubicBezTo>
                      <a:cubicBezTo>
                        <a:pt x="188" y="163"/>
                        <a:pt x="188" y="163"/>
                        <a:pt x="188" y="163"/>
                      </a:cubicBezTo>
                      <a:cubicBezTo>
                        <a:pt x="73" y="347"/>
                        <a:pt x="73" y="347"/>
                        <a:pt x="73" y="347"/>
                      </a:cubicBezTo>
                      <a:cubicBezTo>
                        <a:pt x="72" y="349"/>
                        <a:pt x="72" y="352"/>
                        <a:pt x="73" y="354"/>
                      </a:cubicBezTo>
                      <a:cubicBezTo>
                        <a:pt x="74" y="356"/>
                        <a:pt x="76" y="357"/>
                        <a:pt x="78" y="357"/>
                      </a:cubicBezTo>
                      <a:cubicBezTo>
                        <a:pt x="170" y="357"/>
                        <a:pt x="170" y="357"/>
                        <a:pt x="170" y="357"/>
                      </a:cubicBezTo>
                      <a:cubicBezTo>
                        <a:pt x="173" y="357"/>
                        <a:pt x="176" y="354"/>
                        <a:pt x="176" y="351"/>
                      </a:cubicBezTo>
                      <a:cubicBezTo>
                        <a:pt x="176" y="347"/>
                        <a:pt x="173" y="344"/>
                        <a:pt x="170" y="344"/>
                      </a:cubicBezTo>
                      <a:cubicBezTo>
                        <a:pt x="90" y="344"/>
                        <a:pt x="90" y="344"/>
                        <a:pt x="90" y="344"/>
                      </a:cubicBezTo>
                      <a:cubicBezTo>
                        <a:pt x="199" y="170"/>
                        <a:pt x="199" y="170"/>
                        <a:pt x="199" y="170"/>
                      </a:cubicBezTo>
                      <a:cubicBezTo>
                        <a:pt x="222" y="184"/>
                        <a:pt x="222" y="184"/>
                        <a:pt x="222" y="184"/>
                      </a:cubicBezTo>
                      <a:cubicBezTo>
                        <a:pt x="144" y="308"/>
                        <a:pt x="144" y="308"/>
                        <a:pt x="144" y="308"/>
                      </a:cubicBezTo>
                      <a:cubicBezTo>
                        <a:pt x="143" y="310"/>
                        <a:pt x="143" y="312"/>
                        <a:pt x="144" y="314"/>
                      </a:cubicBezTo>
                      <a:cubicBezTo>
                        <a:pt x="145" y="316"/>
                        <a:pt x="147" y="317"/>
                        <a:pt x="150" y="317"/>
                      </a:cubicBezTo>
                      <a:cubicBezTo>
                        <a:pt x="177" y="317"/>
                        <a:pt x="177" y="317"/>
                        <a:pt x="177" y="317"/>
                      </a:cubicBezTo>
                      <a:cubicBezTo>
                        <a:pt x="180" y="317"/>
                        <a:pt x="183" y="315"/>
                        <a:pt x="183" y="311"/>
                      </a:cubicBezTo>
                      <a:cubicBezTo>
                        <a:pt x="183" y="308"/>
                        <a:pt x="180" y="305"/>
                        <a:pt x="177" y="305"/>
                      </a:cubicBezTo>
                      <a:close/>
                      <a:moveTo>
                        <a:pt x="285" y="20"/>
                      </a:moveTo>
                      <a:cubicBezTo>
                        <a:pt x="264" y="195"/>
                        <a:pt x="264" y="195"/>
                        <a:pt x="264" y="195"/>
                      </a:cubicBezTo>
                      <a:cubicBezTo>
                        <a:pt x="234" y="177"/>
                        <a:pt x="234" y="177"/>
                        <a:pt x="234" y="177"/>
                      </a:cubicBezTo>
                      <a:cubicBezTo>
                        <a:pt x="234" y="177"/>
                        <a:pt x="234" y="176"/>
                        <a:pt x="234" y="176"/>
                      </a:cubicBezTo>
                      <a:cubicBezTo>
                        <a:pt x="233" y="176"/>
                        <a:pt x="233" y="176"/>
                        <a:pt x="233" y="176"/>
                      </a:cubicBezTo>
                      <a:cubicBezTo>
                        <a:pt x="202" y="157"/>
                        <a:pt x="202" y="157"/>
                        <a:pt x="202" y="157"/>
                      </a:cubicBezTo>
                      <a:cubicBezTo>
                        <a:pt x="201" y="156"/>
                        <a:pt x="201" y="156"/>
                        <a:pt x="200" y="155"/>
                      </a:cubicBezTo>
                      <a:cubicBezTo>
                        <a:pt x="199" y="155"/>
                        <a:pt x="199" y="155"/>
                        <a:pt x="198" y="155"/>
                      </a:cubicBezTo>
                      <a:cubicBezTo>
                        <a:pt x="168" y="136"/>
                        <a:pt x="168" y="136"/>
                        <a:pt x="168" y="136"/>
                      </a:cubicBezTo>
                      <a:cubicBezTo>
                        <a:pt x="168" y="136"/>
                        <a:pt x="167" y="135"/>
                        <a:pt x="166" y="134"/>
                      </a:cubicBezTo>
                      <a:cubicBezTo>
                        <a:pt x="166" y="134"/>
                        <a:pt x="165" y="134"/>
                        <a:pt x="164" y="134"/>
                      </a:cubicBezTo>
                      <a:cubicBezTo>
                        <a:pt x="139" y="118"/>
                        <a:pt x="139" y="118"/>
                        <a:pt x="139" y="118"/>
                      </a:cubicBezTo>
                      <a:lnTo>
                        <a:pt x="285" y="2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/>
                </a:p>
              </p:txBody>
            </p:sp>
          </p:grpSp>
          <p:grpSp>
            <p:nvGrpSpPr>
              <p:cNvPr id="11" name="组合 10"/>
              <p:cNvGrpSpPr/>
              <p:nvPr/>
            </p:nvGrpSpPr>
            <p:grpSpPr>
              <a:xfrm>
                <a:off x="5662272" y="2132458"/>
                <a:ext cx="858332" cy="869060"/>
                <a:chOff x="5662272" y="2132458"/>
                <a:chExt cx="858332" cy="869060"/>
              </a:xfrm>
            </p:grpSpPr>
            <p:sp>
              <p:nvSpPr>
                <p:cNvPr id="27" name="椭圆 26"/>
                <p:cNvSpPr/>
                <p:nvPr/>
              </p:nvSpPr>
              <p:spPr>
                <a:xfrm>
                  <a:off x="5662272" y="2132458"/>
                  <a:ext cx="858332" cy="869060"/>
                </a:xfrm>
                <a:prstGeom prst="ellipse">
                  <a:avLst/>
                </a:prstGeom>
                <a:solidFill>
                  <a:schemeClr val="accent1"/>
                </a:solidFill>
                <a:ln w="285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" name="任意多边形: 形状 27"/>
                <p:cNvSpPr/>
                <p:nvPr/>
              </p:nvSpPr>
              <p:spPr>
                <a:xfrm>
                  <a:off x="5912920" y="2324246"/>
                  <a:ext cx="357036" cy="485484"/>
                </a:xfrm>
                <a:custGeom>
                  <a:avLst/>
                  <a:gdLst>
                    <a:gd name="connsiteX0" fmla="*/ 326357 w 446820"/>
                    <a:gd name="connsiteY0" fmla="*/ 440469 h 607568"/>
                    <a:gd name="connsiteX1" fmla="*/ 446820 w 446820"/>
                    <a:gd name="connsiteY1" fmla="*/ 519492 h 607568"/>
                    <a:gd name="connsiteX2" fmla="*/ 223410 w 446820"/>
                    <a:gd name="connsiteY2" fmla="*/ 607568 h 607568"/>
                    <a:gd name="connsiteX3" fmla="*/ 0 w 446820"/>
                    <a:gd name="connsiteY3" fmla="*/ 519492 h 607568"/>
                    <a:gd name="connsiteX4" fmla="*/ 114317 w 446820"/>
                    <a:gd name="connsiteY4" fmla="*/ 441543 h 607568"/>
                    <a:gd name="connsiteX5" fmla="*/ 123844 w 446820"/>
                    <a:gd name="connsiteY5" fmla="*/ 507830 h 607568"/>
                    <a:gd name="connsiteX6" fmla="*/ 146891 w 446820"/>
                    <a:gd name="connsiteY6" fmla="*/ 552022 h 607568"/>
                    <a:gd name="connsiteX7" fmla="*/ 193602 w 446820"/>
                    <a:gd name="connsiteY7" fmla="*/ 570588 h 607568"/>
                    <a:gd name="connsiteX8" fmla="*/ 247072 w 446820"/>
                    <a:gd name="connsiteY8" fmla="*/ 570588 h 607568"/>
                    <a:gd name="connsiteX9" fmla="*/ 293783 w 446820"/>
                    <a:gd name="connsiteY9" fmla="*/ 552175 h 607568"/>
                    <a:gd name="connsiteX10" fmla="*/ 316830 w 446820"/>
                    <a:gd name="connsiteY10" fmla="*/ 507984 h 607568"/>
                    <a:gd name="connsiteX11" fmla="*/ 178235 w 446820"/>
                    <a:gd name="connsiteY11" fmla="*/ 145929 h 607568"/>
                    <a:gd name="connsiteX12" fmla="*/ 179618 w 446820"/>
                    <a:gd name="connsiteY12" fmla="*/ 145929 h 607568"/>
                    <a:gd name="connsiteX13" fmla="*/ 220341 w 446820"/>
                    <a:gd name="connsiteY13" fmla="*/ 155440 h 607568"/>
                    <a:gd name="connsiteX14" fmla="*/ 261063 w 446820"/>
                    <a:gd name="connsiteY14" fmla="*/ 145929 h 607568"/>
                    <a:gd name="connsiteX15" fmla="*/ 262446 w 446820"/>
                    <a:gd name="connsiteY15" fmla="*/ 145929 h 607568"/>
                    <a:gd name="connsiteX16" fmla="*/ 341279 w 446820"/>
                    <a:gd name="connsiteY16" fmla="*/ 217875 h 607568"/>
                    <a:gd name="connsiteX17" fmla="*/ 356492 w 446820"/>
                    <a:gd name="connsiteY17" fmla="*/ 323875 h 607568"/>
                    <a:gd name="connsiteX18" fmla="*/ 348809 w 446820"/>
                    <a:gd name="connsiteY18" fmla="*/ 340289 h 607568"/>
                    <a:gd name="connsiteX19" fmla="*/ 308086 w 446820"/>
                    <a:gd name="connsiteY19" fmla="*/ 365447 h 607568"/>
                    <a:gd name="connsiteX20" fmla="*/ 288416 w 446820"/>
                    <a:gd name="connsiteY20" fmla="*/ 504123 h 607568"/>
                    <a:gd name="connsiteX21" fmla="*/ 247079 w 446820"/>
                    <a:gd name="connsiteY21" fmla="*/ 542013 h 607568"/>
                    <a:gd name="connsiteX22" fmla="*/ 193602 w 446820"/>
                    <a:gd name="connsiteY22" fmla="*/ 542013 h 607568"/>
                    <a:gd name="connsiteX23" fmla="*/ 152265 w 446820"/>
                    <a:gd name="connsiteY23" fmla="*/ 503969 h 607568"/>
                    <a:gd name="connsiteX24" fmla="*/ 132441 w 446820"/>
                    <a:gd name="connsiteY24" fmla="*/ 365447 h 607568"/>
                    <a:gd name="connsiteX25" fmla="*/ 91873 w 446820"/>
                    <a:gd name="connsiteY25" fmla="*/ 340289 h 607568"/>
                    <a:gd name="connsiteX26" fmla="*/ 84189 w 446820"/>
                    <a:gd name="connsiteY26" fmla="*/ 323875 h 607568"/>
                    <a:gd name="connsiteX27" fmla="*/ 99249 w 446820"/>
                    <a:gd name="connsiteY27" fmla="*/ 218028 h 607568"/>
                    <a:gd name="connsiteX28" fmla="*/ 178235 w 446820"/>
                    <a:gd name="connsiteY28" fmla="*/ 145929 h 607568"/>
                    <a:gd name="connsiteX29" fmla="*/ 220270 w 446820"/>
                    <a:gd name="connsiteY29" fmla="*/ 0 h 607568"/>
                    <a:gd name="connsiteX30" fmla="*/ 283320 w 446820"/>
                    <a:gd name="connsiteY30" fmla="*/ 63368 h 607568"/>
                    <a:gd name="connsiteX31" fmla="*/ 220270 w 446820"/>
                    <a:gd name="connsiteY31" fmla="*/ 126736 h 607568"/>
                    <a:gd name="connsiteX32" fmla="*/ 157220 w 446820"/>
                    <a:gd name="connsiteY32" fmla="*/ 63368 h 607568"/>
                    <a:gd name="connsiteX33" fmla="*/ 220270 w 446820"/>
                    <a:gd name="connsiteY33" fmla="*/ 0 h 607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446820" h="607568">
                      <a:moveTo>
                        <a:pt x="326357" y="440469"/>
                      </a:moveTo>
                      <a:cubicBezTo>
                        <a:pt x="393964" y="452898"/>
                        <a:pt x="446820" y="478676"/>
                        <a:pt x="446820" y="519492"/>
                      </a:cubicBezTo>
                      <a:cubicBezTo>
                        <a:pt x="446820" y="580102"/>
                        <a:pt x="330966" y="607568"/>
                        <a:pt x="223410" y="607568"/>
                      </a:cubicBezTo>
                      <a:cubicBezTo>
                        <a:pt x="115854" y="607568"/>
                        <a:pt x="0" y="580102"/>
                        <a:pt x="0" y="519492"/>
                      </a:cubicBezTo>
                      <a:cubicBezTo>
                        <a:pt x="0" y="479904"/>
                        <a:pt x="49783" y="454432"/>
                        <a:pt x="114317" y="441543"/>
                      </a:cubicBezTo>
                      <a:lnTo>
                        <a:pt x="123844" y="507830"/>
                      </a:lnTo>
                      <a:cubicBezTo>
                        <a:pt x="125995" y="524709"/>
                        <a:pt x="134292" y="540514"/>
                        <a:pt x="146891" y="552022"/>
                      </a:cubicBezTo>
                      <a:cubicBezTo>
                        <a:pt x="159952" y="563990"/>
                        <a:pt x="176546" y="570588"/>
                        <a:pt x="193602" y="570588"/>
                      </a:cubicBezTo>
                      <a:lnTo>
                        <a:pt x="247072" y="570588"/>
                      </a:lnTo>
                      <a:cubicBezTo>
                        <a:pt x="264128" y="570588"/>
                        <a:pt x="280722" y="564144"/>
                        <a:pt x="293783" y="552175"/>
                      </a:cubicBezTo>
                      <a:cubicBezTo>
                        <a:pt x="306382" y="540514"/>
                        <a:pt x="314526" y="524862"/>
                        <a:pt x="316830" y="507984"/>
                      </a:cubicBezTo>
                      <a:close/>
                      <a:moveTo>
                        <a:pt x="178235" y="145929"/>
                      </a:moveTo>
                      <a:lnTo>
                        <a:pt x="179618" y="145929"/>
                      </a:lnTo>
                      <a:cubicBezTo>
                        <a:pt x="191912" y="151912"/>
                        <a:pt x="205742" y="155440"/>
                        <a:pt x="220341" y="155440"/>
                      </a:cubicBezTo>
                      <a:cubicBezTo>
                        <a:pt x="234939" y="155440"/>
                        <a:pt x="248769" y="151912"/>
                        <a:pt x="261063" y="145929"/>
                      </a:cubicBezTo>
                      <a:lnTo>
                        <a:pt x="262446" y="145929"/>
                      </a:lnTo>
                      <a:cubicBezTo>
                        <a:pt x="299788" y="145929"/>
                        <a:pt x="335286" y="178143"/>
                        <a:pt x="341279" y="217875"/>
                      </a:cubicBezTo>
                      <a:lnTo>
                        <a:pt x="356492" y="323875"/>
                      </a:lnTo>
                      <a:cubicBezTo>
                        <a:pt x="357414" y="330472"/>
                        <a:pt x="354341" y="336915"/>
                        <a:pt x="348809" y="340289"/>
                      </a:cubicBezTo>
                      <a:lnTo>
                        <a:pt x="308086" y="365447"/>
                      </a:lnTo>
                      <a:lnTo>
                        <a:pt x="288416" y="504123"/>
                      </a:lnTo>
                      <a:cubicBezTo>
                        <a:pt x="285650" y="525292"/>
                        <a:pt x="267517" y="542013"/>
                        <a:pt x="247079" y="542013"/>
                      </a:cubicBezTo>
                      <a:lnTo>
                        <a:pt x="193602" y="542013"/>
                      </a:lnTo>
                      <a:cubicBezTo>
                        <a:pt x="173164" y="542013"/>
                        <a:pt x="155031" y="525292"/>
                        <a:pt x="152265" y="503969"/>
                      </a:cubicBezTo>
                      <a:lnTo>
                        <a:pt x="132441" y="365447"/>
                      </a:lnTo>
                      <a:lnTo>
                        <a:pt x="91873" y="340289"/>
                      </a:lnTo>
                      <a:cubicBezTo>
                        <a:pt x="86340" y="336915"/>
                        <a:pt x="83267" y="330472"/>
                        <a:pt x="84189" y="323875"/>
                      </a:cubicBezTo>
                      <a:lnTo>
                        <a:pt x="99249" y="218028"/>
                      </a:lnTo>
                      <a:cubicBezTo>
                        <a:pt x="105395" y="178143"/>
                        <a:pt x="140740" y="145929"/>
                        <a:pt x="178235" y="145929"/>
                      </a:cubicBezTo>
                      <a:close/>
                      <a:moveTo>
                        <a:pt x="220270" y="0"/>
                      </a:moveTo>
                      <a:cubicBezTo>
                        <a:pt x="255092" y="0"/>
                        <a:pt x="283320" y="28371"/>
                        <a:pt x="283320" y="63368"/>
                      </a:cubicBezTo>
                      <a:cubicBezTo>
                        <a:pt x="283320" y="98365"/>
                        <a:pt x="255092" y="126736"/>
                        <a:pt x="220270" y="126736"/>
                      </a:cubicBezTo>
                      <a:cubicBezTo>
                        <a:pt x="185448" y="126736"/>
                        <a:pt x="157220" y="98365"/>
                        <a:pt x="157220" y="63368"/>
                      </a:cubicBezTo>
                      <a:cubicBezTo>
                        <a:pt x="157220" y="28371"/>
                        <a:pt x="185448" y="0"/>
                        <a:pt x="22027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" name="组合 11"/>
              <p:cNvGrpSpPr/>
              <p:nvPr/>
            </p:nvGrpSpPr>
            <p:grpSpPr>
              <a:xfrm>
                <a:off x="4087290" y="4262882"/>
                <a:ext cx="858332" cy="869060"/>
                <a:chOff x="4087290" y="4262882"/>
                <a:chExt cx="858332" cy="869060"/>
              </a:xfrm>
            </p:grpSpPr>
            <p:sp>
              <p:nvSpPr>
                <p:cNvPr id="25" name="椭圆 24"/>
                <p:cNvSpPr/>
                <p:nvPr/>
              </p:nvSpPr>
              <p:spPr>
                <a:xfrm>
                  <a:off x="4087290" y="4262882"/>
                  <a:ext cx="858332" cy="869060"/>
                </a:xfrm>
                <a:prstGeom prst="ellipse">
                  <a:avLst/>
                </a:prstGeom>
                <a:solidFill>
                  <a:schemeClr val="accent2"/>
                </a:solidFill>
                <a:ln w="285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: 形状 25"/>
                <p:cNvSpPr/>
                <p:nvPr/>
              </p:nvSpPr>
              <p:spPr>
                <a:xfrm>
                  <a:off x="4337938" y="4454670"/>
                  <a:ext cx="357036" cy="485484"/>
                </a:xfrm>
                <a:custGeom>
                  <a:avLst/>
                  <a:gdLst>
                    <a:gd name="connsiteX0" fmla="*/ 326357 w 446820"/>
                    <a:gd name="connsiteY0" fmla="*/ 440469 h 607568"/>
                    <a:gd name="connsiteX1" fmla="*/ 446820 w 446820"/>
                    <a:gd name="connsiteY1" fmla="*/ 519492 h 607568"/>
                    <a:gd name="connsiteX2" fmla="*/ 223410 w 446820"/>
                    <a:gd name="connsiteY2" fmla="*/ 607568 h 607568"/>
                    <a:gd name="connsiteX3" fmla="*/ 0 w 446820"/>
                    <a:gd name="connsiteY3" fmla="*/ 519492 h 607568"/>
                    <a:gd name="connsiteX4" fmla="*/ 114317 w 446820"/>
                    <a:gd name="connsiteY4" fmla="*/ 441543 h 607568"/>
                    <a:gd name="connsiteX5" fmla="*/ 123844 w 446820"/>
                    <a:gd name="connsiteY5" fmla="*/ 507830 h 607568"/>
                    <a:gd name="connsiteX6" fmla="*/ 146891 w 446820"/>
                    <a:gd name="connsiteY6" fmla="*/ 552022 h 607568"/>
                    <a:gd name="connsiteX7" fmla="*/ 193602 w 446820"/>
                    <a:gd name="connsiteY7" fmla="*/ 570588 h 607568"/>
                    <a:gd name="connsiteX8" fmla="*/ 247072 w 446820"/>
                    <a:gd name="connsiteY8" fmla="*/ 570588 h 607568"/>
                    <a:gd name="connsiteX9" fmla="*/ 293783 w 446820"/>
                    <a:gd name="connsiteY9" fmla="*/ 552175 h 607568"/>
                    <a:gd name="connsiteX10" fmla="*/ 316830 w 446820"/>
                    <a:gd name="connsiteY10" fmla="*/ 507984 h 607568"/>
                    <a:gd name="connsiteX11" fmla="*/ 178235 w 446820"/>
                    <a:gd name="connsiteY11" fmla="*/ 145929 h 607568"/>
                    <a:gd name="connsiteX12" fmla="*/ 179618 w 446820"/>
                    <a:gd name="connsiteY12" fmla="*/ 145929 h 607568"/>
                    <a:gd name="connsiteX13" fmla="*/ 220341 w 446820"/>
                    <a:gd name="connsiteY13" fmla="*/ 155440 h 607568"/>
                    <a:gd name="connsiteX14" fmla="*/ 261063 w 446820"/>
                    <a:gd name="connsiteY14" fmla="*/ 145929 h 607568"/>
                    <a:gd name="connsiteX15" fmla="*/ 262446 w 446820"/>
                    <a:gd name="connsiteY15" fmla="*/ 145929 h 607568"/>
                    <a:gd name="connsiteX16" fmla="*/ 341279 w 446820"/>
                    <a:gd name="connsiteY16" fmla="*/ 217875 h 607568"/>
                    <a:gd name="connsiteX17" fmla="*/ 356492 w 446820"/>
                    <a:gd name="connsiteY17" fmla="*/ 323875 h 607568"/>
                    <a:gd name="connsiteX18" fmla="*/ 348809 w 446820"/>
                    <a:gd name="connsiteY18" fmla="*/ 340289 h 607568"/>
                    <a:gd name="connsiteX19" fmla="*/ 308086 w 446820"/>
                    <a:gd name="connsiteY19" fmla="*/ 365447 h 607568"/>
                    <a:gd name="connsiteX20" fmla="*/ 288416 w 446820"/>
                    <a:gd name="connsiteY20" fmla="*/ 504123 h 607568"/>
                    <a:gd name="connsiteX21" fmla="*/ 247079 w 446820"/>
                    <a:gd name="connsiteY21" fmla="*/ 542013 h 607568"/>
                    <a:gd name="connsiteX22" fmla="*/ 193602 w 446820"/>
                    <a:gd name="connsiteY22" fmla="*/ 542013 h 607568"/>
                    <a:gd name="connsiteX23" fmla="*/ 152265 w 446820"/>
                    <a:gd name="connsiteY23" fmla="*/ 503969 h 607568"/>
                    <a:gd name="connsiteX24" fmla="*/ 132441 w 446820"/>
                    <a:gd name="connsiteY24" fmla="*/ 365447 h 607568"/>
                    <a:gd name="connsiteX25" fmla="*/ 91873 w 446820"/>
                    <a:gd name="connsiteY25" fmla="*/ 340289 h 607568"/>
                    <a:gd name="connsiteX26" fmla="*/ 84189 w 446820"/>
                    <a:gd name="connsiteY26" fmla="*/ 323875 h 607568"/>
                    <a:gd name="connsiteX27" fmla="*/ 99249 w 446820"/>
                    <a:gd name="connsiteY27" fmla="*/ 218028 h 607568"/>
                    <a:gd name="connsiteX28" fmla="*/ 178235 w 446820"/>
                    <a:gd name="connsiteY28" fmla="*/ 145929 h 607568"/>
                    <a:gd name="connsiteX29" fmla="*/ 220270 w 446820"/>
                    <a:gd name="connsiteY29" fmla="*/ 0 h 607568"/>
                    <a:gd name="connsiteX30" fmla="*/ 283320 w 446820"/>
                    <a:gd name="connsiteY30" fmla="*/ 63368 h 607568"/>
                    <a:gd name="connsiteX31" fmla="*/ 220270 w 446820"/>
                    <a:gd name="connsiteY31" fmla="*/ 126736 h 607568"/>
                    <a:gd name="connsiteX32" fmla="*/ 157220 w 446820"/>
                    <a:gd name="connsiteY32" fmla="*/ 63368 h 607568"/>
                    <a:gd name="connsiteX33" fmla="*/ 220270 w 446820"/>
                    <a:gd name="connsiteY33" fmla="*/ 0 h 607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446820" h="607568">
                      <a:moveTo>
                        <a:pt x="326357" y="440469"/>
                      </a:moveTo>
                      <a:cubicBezTo>
                        <a:pt x="393964" y="452898"/>
                        <a:pt x="446820" y="478676"/>
                        <a:pt x="446820" y="519492"/>
                      </a:cubicBezTo>
                      <a:cubicBezTo>
                        <a:pt x="446820" y="580102"/>
                        <a:pt x="330966" y="607568"/>
                        <a:pt x="223410" y="607568"/>
                      </a:cubicBezTo>
                      <a:cubicBezTo>
                        <a:pt x="115854" y="607568"/>
                        <a:pt x="0" y="580102"/>
                        <a:pt x="0" y="519492"/>
                      </a:cubicBezTo>
                      <a:cubicBezTo>
                        <a:pt x="0" y="479904"/>
                        <a:pt x="49783" y="454432"/>
                        <a:pt x="114317" y="441543"/>
                      </a:cubicBezTo>
                      <a:lnTo>
                        <a:pt x="123844" y="507830"/>
                      </a:lnTo>
                      <a:cubicBezTo>
                        <a:pt x="125995" y="524709"/>
                        <a:pt x="134292" y="540514"/>
                        <a:pt x="146891" y="552022"/>
                      </a:cubicBezTo>
                      <a:cubicBezTo>
                        <a:pt x="159952" y="563990"/>
                        <a:pt x="176546" y="570588"/>
                        <a:pt x="193602" y="570588"/>
                      </a:cubicBezTo>
                      <a:lnTo>
                        <a:pt x="247072" y="570588"/>
                      </a:lnTo>
                      <a:cubicBezTo>
                        <a:pt x="264128" y="570588"/>
                        <a:pt x="280722" y="564144"/>
                        <a:pt x="293783" y="552175"/>
                      </a:cubicBezTo>
                      <a:cubicBezTo>
                        <a:pt x="306382" y="540514"/>
                        <a:pt x="314526" y="524862"/>
                        <a:pt x="316830" y="507984"/>
                      </a:cubicBezTo>
                      <a:close/>
                      <a:moveTo>
                        <a:pt x="178235" y="145929"/>
                      </a:moveTo>
                      <a:lnTo>
                        <a:pt x="179618" y="145929"/>
                      </a:lnTo>
                      <a:cubicBezTo>
                        <a:pt x="191912" y="151912"/>
                        <a:pt x="205742" y="155440"/>
                        <a:pt x="220341" y="155440"/>
                      </a:cubicBezTo>
                      <a:cubicBezTo>
                        <a:pt x="234939" y="155440"/>
                        <a:pt x="248769" y="151912"/>
                        <a:pt x="261063" y="145929"/>
                      </a:cubicBezTo>
                      <a:lnTo>
                        <a:pt x="262446" y="145929"/>
                      </a:lnTo>
                      <a:cubicBezTo>
                        <a:pt x="299788" y="145929"/>
                        <a:pt x="335286" y="178143"/>
                        <a:pt x="341279" y="217875"/>
                      </a:cubicBezTo>
                      <a:lnTo>
                        <a:pt x="356492" y="323875"/>
                      </a:lnTo>
                      <a:cubicBezTo>
                        <a:pt x="357414" y="330472"/>
                        <a:pt x="354341" y="336915"/>
                        <a:pt x="348809" y="340289"/>
                      </a:cubicBezTo>
                      <a:lnTo>
                        <a:pt x="308086" y="365447"/>
                      </a:lnTo>
                      <a:lnTo>
                        <a:pt x="288416" y="504123"/>
                      </a:lnTo>
                      <a:cubicBezTo>
                        <a:pt x="285650" y="525292"/>
                        <a:pt x="267517" y="542013"/>
                        <a:pt x="247079" y="542013"/>
                      </a:cubicBezTo>
                      <a:lnTo>
                        <a:pt x="193602" y="542013"/>
                      </a:lnTo>
                      <a:cubicBezTo>
                        <a:pt x="173164" y="542013"/>
                        <a:pt x="155031" y="525292"/>
                        <a:pt x="152265" y="503969"/>
                      </a:cubicBezTo>
                      <a:lnTo>
                        <a:pt x="132441" y="365447"/>
                      </a:lnTo>
                      <a:lnTo>
                        <a:pt x="91873" y="340289"/>
                      </a:lnTo>
                      <a:cubicBezTo>
                        <a:pt x="86340" y="336915"/>
                        <a:pt x="83267" y="330472"/>
                        <a:pt x="84189" y="323875"/>
                      </a:cubicBezTo>
                      <a:lnTo>
                        <a:pt x="99249" y="218028"/>
                      </a:lnTo>
                      <a:cubicBezTo>
                        <a:pt x="105395" y="178143"/>
                        <a:pt x="140740" y="145929"/>
                        <a:pt x="178235" y="145929"/>
                      </a:cubicBezTo>
                      <a:close/>
                      <a:moveTo>
                        <a:pt x="220270" y="0"/>
                      </a:moveTo>
                      <a:cubicBezTo>
                        <a:pt x="255092" y="0"/>
                        <a:pt x="283320" y="28371"/>
                        <a:pt x="283320" y="63368"/>
                      </a:cubicBezTo>
                      <a:cubicBezTo>
                        <a:pt x="283320" y="98365"/>
                        <a:pt x="255092" y="126736"/>
                        <a:pt x="220270" y="126736"/>
                      </a:cubicBezTo>
                      <a:cubicBezTo>
                        <a:pt x="185448" y="126736"/>
                        <a:pt x="157220" y="98365"/>
                        <a:pt x="157220" y="63368"/>
                      </a:cubicBezTo>
                      <a:cubicBezTo>
                        <a:pt x="157220" y="28371"/>
                        <a:pt x="185448" y="0"/>
                        <a:pt x="22027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" name="组合 12"/>
              <p:cNvGrpSpPr/>
              <p:nvPr/>
            </p:nvGrpSpPr>
            <p:grpSpPr>
              <a:xfrm>
                <a:off x="7233678" y="4262882"/>
                <a:ext cx="858332" cy="869060"/>
                <a:chOff x="7233678" y="4262882"/>
                <a:chExt cx="858332" cy="869060"/>
              </a:xfrm>
            </p:grpSpPr>
            <p:sp>
              <p:nvSpPr>
                <p:cNvPr id="23" name="椭圆 22"/>
                <p:cNvSpPr/>
                <p:nvPr/>
              </p:nvSpPr>
              <p:spPr>
                <a:xfrm>
                  <a:off x="7233678" y="4262882"/>
                  <a:ext cx="858332" cy="869060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24" name="任意多边形: 形状 23"/>
                <p:cNvSpPr/>
                <p:nvPr/>
              </p:nvSpPr>
              <p:spPr>
                <a:xfrm>
                  <a:off x="7484326" y="4454670"/>
                  <a:ext cx="357036" cy="485484"/>
                </a:xfrm>
                <a:custGeom>
                  <a:avLst/>
                  <a:gdLst>
                    <a:gd name="connsiteX0" fmla="*/ 326357 w 446820"/>
                    <a:gd name="connsiteY0" fmla="*/ 440469 h 607568"/>
                    <a:gd name="connsiteX1" fmla="*/ 446820 w 446820"/>
                    <a:gd name="connsiteY1" fmla="*/ 519492 h 607568"/>
                    <a:gd name="connsiteX2" fmla="*/ 223410 w 446820"/>
                    <a:gd name="connsiteY2" fmla="*/ 607568 h 607568"/>
                    <a:gd name="connsiteX3" fmla="*/ 0 w 446820"/>
                    <a:gd name="connsiteY3" fmla="*/ 519492 h 607568"/>
                    <a:gd name="connsiteX4" fmla="*/ 114317 w 446820"/>
                    <a:gd name="connsiteY4" fmla="*/ 441543 h 607568"/>
                    <a:gd name="connsiteX5" fmla="*/ 123844 w 446820"/>
                    <a:gd name="connsiteY5" fmla="*/ 507830 h 607568"/>
                    <a:gd name="connsiteX6" fmla="*/ 146891 w 446820"/>
                    <a:gd name="connsiteY6" fmla="*/ 552022 h 607568"/>
                    <a:gd name="connsiteX7" fmla="*/ 193602 w 446820"/>
                    <a:gd name="connsiteY7" fmla="*/ 570588 h 607568"/>
                    <a:gd name="connsiteX8" fmla="*/ 247072 w 446820"/>
                    <a:gd name="connsiteY8" fmla="*/ 570588 h 607568"/>
                    <a:gd name="connsiteX9" fmla="*/ 293783 w 446820"/>
                    <a:gd name="connsiteY9" fmla="*/ 552175 h 607568"/>
                    <a:gd name="connsiteX10" fmla="*/ 316830 w 446820"/>
                    <a:gd name="connsiteY10" fmla="*/ 507984 h 607568"/>
                    <a:gd name="connsiteX11" fmla="*/ 178235 w 446820"/>
                    <a:gd name="connsiteY11" fmla="*/ 145929 h 607568"/>
                    <a:gd name="connsiteX12" fmla="*/ 179618 w 446820"/>
                    <a:gd name="connsiteY12" fmla="*/ 145929 h 607568"/>
                    <a:gd name="connsiteX13" fmla="*/ 220341 w 446820"/>
                    <a:gd name="connsiteY13" fmla="*/ 155440 h 607568"/>
                    <a:gd name="connsiteX14" fmla="*/ 261063 w 446820"/>
                    <a:gd name="connsiteY14" fmla="*/ 145929 h 607568"/>
                    <a:gd name="connsiteX15" fmla="*/ 262446 w 446820"/>
                    <a:gd name="connsiteY15" fmla="*/ 145929 h 607568"/>
                    <a:gd name="connsiteX16" fmla="*/ 341279 w 446820"/>
                    <a:gd name="connsiteY16" fmla="*/ 217875 h 607568"/>
                    <a:gd name="connsiteX17" fmla="*/ 356492 w 446820"/>
                    <a:gd name="connsiteY17" fmla="*/ 323875 h 607568"/>
                    <a:gd name="connsiteX18" fmla="*/ 348809 w 446820"/>
                    <a:gd name="connsiteY18" fmla="*/ 340289 h 607568"/>
                    <a:gd name="connsiteX19" fmla="*/ 308086 w 446820"/>
                    <a:gd name="connsiteY19" fmla="*/ 365447 h 607568"/>
                    <a:gd name="connsiteX20" fmla="*/ 288416 w 446820"/>
                    <a:gd name="connsiteY20" fmla="*/ 504123 h 607568"/>
                    <a:gd name="connsiteX21" fmla="*/ 247079 w 446820"/>
                    <a:gd name="connsiteY21" fmla="*/ 542013 h 607568"/>
                    <a:gd name="connsiteX22" fmla="*/ 193602 w 446820"/>
                    <a:gd name="connsiteY22" fmla="*/ 542013 h 607568"/>
                    <a:gd name="connsiteX23" fmla="*/ 152265 w 446820"/>
                    <a:gd name="connsiteY23" fmla="*/ 503969 h 607568"/>
                    <a:gd name="connsiteX24" fmla="*/ 132441 w 446820"/>
                    <a:gd name="connsiteY24" fmla="*/ 365447 h 607568"/>
                    <a:gd name="connsiteX25" fmla="*/ 91873 w 446820"/>
                    <a:gd name="connsiteY25" fmla="*/ 340289 h 607568"/>
                    <a:gd name="connsiteX26" fmla="*/ 84189 w 446820"/>
                    <a:gd name="connsiteY26" fmla="*/ 323875 h 607568"/>
                    <a:gd name="connsiteX27" fmla="*/ 99249 w 446820"/>
                    <a:gd name="connsiteY27" fmla="*/ 218028 h 607568"/>
                    <a:gd name="connsiteX28" fmla="*/ 178235 w 446820"/>
                    <a:gd name="connsiteY28" fmla="*/ 145929 h 607568"/>
                    <a:gd name="connsiteX29" fmla="*/ 220270 w 446820"/>
                    <a:gd name="connsiteY29" fmla="*/ 0 h 607568"/>
                    <a:gd name="connsiteX30" fmla="*/ 283320 w 446820"/>
                    <a:gd name="connsiteY30" fmla="*/ 63368 h 607568"/>
                    <a:gd name="connsiteX31" fmla="*/ 220270 w 446820"/>
                    <a:gd name="connsiteY31" fmla="*/ 126736 h 607568"/>
                    <a:gd name="connsiteX32" fmla="*/ 157220 w 446820"/>
                    <a:gd name="connsiteY32" fmla="*/ 63368 h 607568"/>
                    <a:gd name="connsiteX33" fmla="*/ 220270 w 446820"/>
                    <a:gd name="connsiteY33" fmla="*/ 0 h 607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446820" h="607568">
                      <a:moveTo>
                        <a:pt x="326357" y="440469"/>
                      </a:moveTo>
                      <a:cubicBezTo>
                        <a:pt x="393964" y="452898"/>
                        <a:pt x="446820" y="478676"/>
                        <a:pt x="446820" y="519492"/>
                      </a:cubicBezTo>
                      <a:cubicBezTo>
                        <a:pt x="446820" y="580102"/>
                        <a:pt x="330966" y="607568"/>
                        <a:pt x="223410" y="607568"/>
                      </a:cubicBezTo>
                      <a:cubicBezTo>
                        <a:pt x="115854" y="607568"/>
                        <a:pt x="0" y="580102"/>
                        <a:pt x="0" y="519492"/>
                      </a:cubicBezTo>
                      <a:cubicBezTo>
                        <a:pt x="0" y="479904"/>
                        <a:pt x="49783" y="454432"/>
                        <a:pt x="114317" y="441543"/>
                      </a:cubicBezTo>
                      <a:lnTo>
                        <a:pt x="123844" y="507830"/>
                      </a:lnTo>
                      <a:cubicBezTo>
                        <a:pt x="125995" y="524709"/>
                        <a:pt x="134292" y="540514"/>
                        <a:pt x="146891" y="552022"/>
                      </a:cubicBezTo>
                      <a:cubicBezTo>
                        <a:pt x="159952" y="563990"/>
                        <a:pt x="176546" y="570588"/>
                        <a:pt x="193602" y="570588"/>
                      </a:cubicBezTo>
                      <a:lnTo>
                        <a:pt x="247072" y="570588"/>
                      </a:lnTo>
                      <a:cubicBezTo>
                        <a:pt x="264128" y="570588"/>
                        <a:pt x="280722" y="564144"/>
                        <a:pt x="293783" y="552175"/>
                      </a:cubicBezTo>
                      <a:cubicBezTo>
                        <a:pt x="306382" y="540514"/>
                        <a:pt x="314526" y="524862"/>
                        <a:pt x="316830" y="507984"/>
                      </a:cubicBezTo>
                      <a:close/>
                      <a:moveTo>
                        <a:pt x="178235" y="145929"/>
                      </a:moveTo>
                      <a:lnTo>
                        <a:pt x="179618" y="145929"/>
                      </a:lnTo>
                      <a:cubicBezTo>
                        <a:pt x="191912" y="151912"/>
                        <a:pt x="205742" y="155440"/>
                        <a:pt x="220341" y="155440"/>
                      </a:cubicBezTo>
                      <a:cubicBezTo>
                        <a:pt x="234939" y="155440"/>
                        <a:pt x="248769" y="151912"/>
                        <a:pt x="261063" y="145929"/>
                      </a:cubicBezTo>
                      <a:lnTo>
                        <a:pt x="262446" y="145929"/>
                      </a:lnTo>
                      <a:cubicBezTo>
                        <a:pt x="299788" y="145929"/>
                        <a:pt x="335286" y="178143"/>
                        <a:pt x="341279" y="217875"/>
                      </a:cubicBezTo>
                      <a:lnTo>
                        <a:pt x="356492" y="323875"/>
                      </a:lnTo>
                      <a:cubicBezTo>
                        <a:pt x="357414" y="330472"/>
                        <a:pt x="354341" y="336915"/>
                        <a:pt x="348809" y="340289"/>
                      </a:cubicBezTo>
                      <a:lnTo>
                        <a:pt x="308086" y="365447"/>
                      </a:lnTo>
                      <a:lnTo>
                        <a:pt x="288416" y="504123"/>
                      </a:lnTo>
                      <a:cubicBezTo>
                        <a:pt x="285650" y="525292"/>
                        <a:pt x="267517" y="542013"/>
                        <a:pt x="247079" y="542013"/>
                      </a:cubicBezTo>
                      <a:lnTo>
                        <a:pt x="193602" y="542013"/>
                      </a:lnTo>
                      <a:cubicBezTo>
                        <a:pt x="173164" y="542013"/>
                        <a:pt x="155031" y="525292"/>
                        <a:pt x="152265" y="503969"/>
                      </a:cubicBezTo>
                      <a:lnTo>
                        <a:pt x="132441" y="365447"/>
                      </a:lnTo>
                      <a:lnTo>
                        <a:pt x="91873" y="340289"/>
                      </a:lnTo>
                      <a:cubicBezTo>
                        <a:pt x="86340" y="336915"/>
                        <a:pt x="83267" y="330472"/>
                        <a:pt x="84189" y="323875"/>
                      </a:cubicBezTo>
                      <a:lnTo>
                        <a:pt x="99249" y="218028"/>
                      </a:lnTo>
                      <a:cubicBezTo>
                        <a:pt x="105395" y="178143"/>
                        <a:pt x="140740" y="145929"/>
                        <a:pt x="178235" y="145929"/>
                      </a:cubicBezTo>
                      <a:close/>
                      <a:moveTo>
                        <a:pt x="220270" y="0"/>
                      </a:moveTo>
                      <a:cubicBezTo>
                        <a:pt x="255092" y="0"/>
                        <a:pt x="283320" y="28371"/>
                        <a:pt x="283320" y="63368"/>
                      </a:cubicBezTo>
                      <a:cubicBezTo>
                        <a:pt x="283320" y="98365"/>
                        <a:pt x="255092" y="126736"/>
                        <a:pt x="220270" y="126736"/>
                      </a:cubicBezTo>
                      <a:cubicBezTo>
                        <a:pt x="185448" y="126736"/>
                        <a:pt x="157220" y="98365"/>
                        <a:pt x="157220" y="63368"/>
                      </a:cubicBezTo>
                      <a:cubicBezTo>
                        <a:pt x="157220" y="28371"/>
                        <a:pt x="185448" y="0"/>
                        <a:pt x="22027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" name="组合 13"/>
              <p:cNvGrpSpPr/>
              <p:nvPr/>
            </p:nvGrpSpPr>
            <p:grpSpPr>
              <a:xfrm>
                <a:off x="8271556" y="4190458"/>
                <a:ext cx="3247344" cy="1359320"/>
                <a:chOff x="8092010" y="4262882"/>
                <a:chExt cx="3078548" cy="1359320"/>
              </a:xfrm>
            </p:grpSpPr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0E2BA31D-0B1A-4FEF-BEF0-FFE0B5FBC12B}"/>
                    </a:ext>
                  </a:extLst>
                </p:cNvPr>
                <p:cNvSpPr/>
                <p:nvPr/>
              </p:nvSpPr>
              <p:spPr bwMode="auto">
                <a:xfrm>
                  <a:off x="8092010" y="4704687"/>
                  <a:ext cx="3078548" cy="9175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</a:t>
                  </a:r>
                  <a:r>
                    <a:rPr lang="en-US" altLang="zh-CN" sz="1100"/>
                    <a:t>option t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o </a:t>
                  </a:r>
                  <a:r>
                    <a:rPr lang="en-US" altLang="zh-CN" sz="1100" dirty="0"/>
                    <a:t>retain text.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22" name="文本框 21">
                  <a:extLst>
                    <a:ext uri="{FF2B5EF4-FFF2-40B4-BE49-F238E27FC236}">
                      <a16:creationId xmlns:a16="http://schemas.microsoft.com/office/drawing/2014/main" id="{604430CD-0ED0-4017-BECF-D179074045B8}"/>
                    </a:ext>
                  </a:extLst>
                </p:cNvPr>
                <p:cNvSpPr txBox="1"/>
                <p:nvPr/>
              </p:nvSpPr>
              <p:spPr bwMode="auto">
                <a:xfrm>
                  <a:off x="8092010" y="4262882"/>
                  <a:ext cx="307854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b="1" dirty="0"/>
                    <a:t>…</a:t>
                  </a:r>
                  <a:r>
                    <a:rPr lang="zh-CN" altLang="en-US" b="1" dirty="0"/>
                    <a:t>意义</a:t>
                  </a:r>
                </a:p>
              </p:txBody>
            </p:sp>
          </p:grpSp>
          <p:grpSp>
            <p:nvGrpSpPr>
              <p:cNvPr id="15" name="组合 14"/>
              <p:cNvGrpSpPr/>
              <p:nvPr/>
            </p:nvGrpSpPr>
            <p:grpSpPr>
              <a:xfrm>
                <a:off x="660400" y="4190458"/>
                <a:ext cx="3247344" cy="1359320"/>
                <a:chOff x="8092010" y="4262882"/>
                <a:chExt cx="3078548" cy="1359320"/>
              </a:xfrm>
            </p:grpSpPr>
            <p:sp>
              <p:nvSpPr>
                <p:cNvPr id="19" name="矩形 18">
                  <a:extLst>
                    <a:ext uri="{FF2B5EF4-FFF2-40B4-BE49-F238E27FC236}">
                      <a16:creationId xmlns:a16="http://schemas.microsoft.com/office/drawing/2014/main" id="{0E2BA31D-0B1A-4FEF-BEF0-FFE0B5FBC12B}"/>
                    </a:ext>
                  </a:extLst>
                </p:cNvPr>
                <p:cNvSpPr/>
                <p:nvPr/>
              </p:nvSpPr>
              <p:spPr bwMode="auto">
                <a:xfrm>
                  <a:off x="8092010" y="4704687"/>
                  <a:ext cx="3078548" cy="9175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</a:t>
                  </a:r>
                  <a:r>
                    <a:rPr lang="en-US" altLang="zh-CN" sz="1100"/>
                    <a:t>option t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o </a:t>
                  </a:r>
                  <a:r>
                    <a:rPr lang="en-US" altLang="zh-CN" sz="1100" dirty="0"/>
                    <a:t>retain text.</a:t>
                  </a:r>
                </a:p>
                <a:p>
                  <a:pPr algn="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20" name="文本框 19">
                  <a:extLst>
                    <a:ext uri="{FF2B5EF4-FFF2-40B4-BE49-F238E27FC236}">
                      <a16:creationId xmlns:a16="http://schemas.microsoft.com/office/drawing/2014/main" id="{604430CD-0ED0-4017-BECF-D179074045B8}"/>
                    </a:ext>
                  </a:extLst>
                </p:cNvPr>
                <p:cNvSpPr txBox="1"/>
                <p:nvPr/>
              </p:nvSpPr>
              <p:spPr bwMode="auto">
                <a:xfrm>
                  <a:off x="8092010" y="4262882"/>
                  <a:ext cx="307854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spcBef>
                      <a:spcPct val="0"/>
                    </a:spcBef>
                  </a:pPr>
                  <a:r>
                    <a:rPr lang="en-US" altLang="zh-CN" b="1" dirty="0"/>
                    <a:t>…</a:t>
                  </a:r>
                  <a:r>
                    <a:rPr lang="zh-CN" altLang="en-US" b="1" dirty="0"/>
                    <a:t>意义</a:t>
                  </a:r>
                </a:p>
              </p:txBody>
            </p:sp>
          </p:grpSp>
          <p:grpSp>
            <p:nvGrpSpPr>
              <p:cNvPr id="16" name="组合 15"/>
              <p:cNvGrpSpPr/>
              <p:nvPr/>
            </p:nvGrpSpPr>
            <p:grpSpPr>
              <a:xfrm>
                <a:off x="6700150" y="2060034"/>
                <a:ext cx="3247344" cy="1359320"/>
                <a:chOff x="8092010" y="4262882"/>
                <a:chExt cx="3078548" cy="1359320"/>
              </a:xfrm>
            </p:grpSpPr>
            <p:sp>
              <p:nvSpPr>
                <p:cNvPr id="17" name="矩形 16">
                  <a:extLst>
                    <a:ext uri="{FF2B5EF4-FFF2-40B4-BE49-F238E27FC236}">
                      <a16:creationId xmlns:a16="http://schemas.microsoft.com/office/drawing/2014/main" id="{0E2BA31D-0B1A-4FEF-BEF0-FFE0B5FBC12B}"/>
                    </a:ext>
                  </a:extLst>
                </p:cNvPr>
                <p:cNvSpPr/>
                <p:nvPr/>
              </p:nvSpPr>
              <p:spPr bwMode="auto">
                <a:xfrm>
                  <a:off x="8092010" y="4704687"/>
                  <a:ext cx="3078548" cy="9175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</a:t>
                  </a:r>
                  <a:r>
                    <a:rPr lang="en-US" altLang="zh-CN" sz="1100"/>
                    <a:t>option t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o </a:t>
                  </a:r>
                  <a:r>
                    <a:rPr lang="en-US" altLang="zh-CN" sz="1100" dirty="0"/>
                    <a:t>retain text.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18" name="文本框 17">
                  <a:extLst>
                    <a:ext uri="{FF2B5EF4-FFF2-40B4-BE49-F238E27FC236}">
                      <a16:creationId xmlns:a16="http://schemas.microsoft.com/office/drawing/2014/main" id="{604430CD-0ED0-4017-BECF-D179074045B8}"/>
                    </a:ext>
                  </a:extLst>
                </p:cNvPr>
                <p:cNvSpPr txBox="1"/>
                <p:nvPr/>
              </p:nvSpPr>
              <p:spPr bwMode="auto">
                <a:xfrm>
                  <a:off x="8092010" y="4262882"/>
                  <a:ext cx="307854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b="1" dirty="0"/>
                    <a:t>…</a:t>
                  </a:r>
                  <a:r>
                    <a:rPr lang="zh-CN" altLang="en-US" b="1" dirty="0"/>
                    <a:t>意义</a:t>
                  </a:r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660401" y="1130300"/>
              <a:ext cx="3504194" cy="1894333"/>
              <a:chOff x="660400" y="1130300"/>
              <a:chExt cx="3633725" cy="1894333"/>
            </a:xfrm>
          </p:grpSpPr>
          <p:sp>
            <p:nvSpPr>
              <p:cNvPr id="8" name="文本框 7">
                <a:extLst>
                  <a:ext uri="{FF2B5EF4-FFF2-40B4-BE49-F238E27FC236}">
                    <a16:creationId xmlns:a16="http://schemas.microsoft.com/office/drawing/2014/main" id="{8828E697-F619-43BC-97A4-971768523972}"/>
                  </a:ext>
                </a:extLst>
              </p:cNvPr>
              <p:cNvSpPr txBox="1"/>
              <p:nvPr/>
            </p:nvSpPr>
            <p:spPr>
              <a:xfrm>
                <a:off x="660402" y="1130300"/>
                <a:ext cx="3633723" cy="8521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n-US" sz="2000" b="1" dirty="0"/>
                  <a:t>Unified fonts make</a:t>
                </a:r>
              </a:p>
              <a:p>
                <a:pPr>
                  <a:buSzPct val="25000"/>
                </a:pPr>
                <a:r>
                  <a:rPr lang="en-US" sz="2000" b="1"/>
                  <a:t>reading </a:t>
                </a:r>
                <a:r>
                  <a:rPr lang="en-US" sz="100" b="1"/>
                  <a:t> </a:t>
                </a:r>
                <a:r>
                  <a:rPr lang="en-US" sz="2000" b="1"/>
                  <a:t>more </a:t>
                </a:r>
                <a:r>
                  <a:rPr lang="en-US" sz="2000" b="1" dirty="0"/>
                  <a:t>fluent.</a:t>
                </a:r>
              </a:p>
            </p:txBody>
          </p:sp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67C48D8B-8C8A-414D-9709-419A4C836390}"/>
                  </a:ext>
                </a:extLst>
              </p:cNvPr>
              <p:cNvSpPr txBox="1"/>
              <p:nvPr/>
            </p:nvSpPr>
            <p:spPr>
              <a:xfrm>
                <a:off x="660400" y="1982461"/>
                <a:ext cx="3633723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Adjust the spacing to adapt to </a:t>
                </a:r>
                <a:r>
                  <a:rPr lang="en-US" sz="1200"/>
                  <a:t>Chinese typese</a:t>
                </a:r>
                <a:r>
                  <a:rPr lang="en-US" sz="100"/>
                  <a:t> </a:t>
                </a:r>
                <a:r>
                  <a:rPr lang="en-US" sz="1200"/>
                  <a:t>tting</a:t>
                </a:r>
                <a:r>
                  <a:rPr lang="en-US" sz="1200" dirty="0"/>
                  <a:t>, use the reference line in PP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559249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综述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044772" y="2667679"/>
            <a:ext cx="1861056" cy="161811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16200000" scaled="0"/>
                </a:gra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6200000" scaled="0"/>
              </a:gra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4003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综述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878808" y="1673229"/>
            <a:ext cx="10277051" cy="3930641"/>
            <a:chOff x="878808" y="1673229"/>
            <a:chExt cx="10277051" cy="3930641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38A6AEA5-DDA0-4C61-AC3F-AFAB80FFCE3A}"/>
                </a:ext>
              </a:extLst>
            </p:cNvPr>
            <p:cNvSpPr/>
            <p:nvPr/>
          </p:nvSpPr>
          <p:spPr>
            <a:xfrm rot="5400000">
              <a:off x="5974067" y="3103893"/>
              <a:ext cx="254091" cy="41308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/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9C87F2A3-C41B-4262-96CF-C20B3A82E51B}"/>
                </a:ext>
              </a:extLst>
            </p:cNvPr>
            <p:cNvSpPr/>
            <p:nvPr/>
          </p:nvSpPr>
          <p:spPr>
            <a:xfrm rot="5400000">
              <a:off x="5963843" y="154069"/>
              <a:ext cx="254091" cy="41308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F429B07C-6724-46C0-96AF-78CA9D6B35D9}"/>
                </a:ext>
              </a:extLst>
            </p:cNvPr>
            <p:cNvSpPr/>
            <p:nvPr/>
          </p:nvSpPr>
          <p:spPr>
            <a:xfrm>
              <a:off x="5968955" y="2184900"/>
              <a:ext cx="254091" cy="30701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en-US"/>
            </a:p>
          </p:txBody>
        </p: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494B4A72-4EFB-4015-B888-BA494F948F5C}"/>
                </a:ext>
              </a:extLst>
            </p:cNvPr>
            <p:cNvGrpSpPr/>
            <p:nvPr/>
          </p:nvGrpSpPr>
          <p:grpSpPr>
            <a:xfrm>
              <a:off x="3614168" y="1784932"/>
              <a:ext cx="822599" cy="822598"/>
              <a:chOff x="3614168" y="1519531"/>
              <a:chExt cx="822599" cy="822598"/>
            </a:xfrm>
          </p:grpSpPr>
          <p:sp>
            <p:nvSpPr>
              <p:cNvPr id="39" name="椭圆 38">
                <a:extLst>
                  <a:ext uri="{FF2B5EF4-FFF2-40B4-BE49-F238E27FC236}">
                    <a16:creationId xmlns:a16="http://schemas.microsoft.com/office/drawing/2014/main" id="{1F6F541E-CDFB-4523-A721-8C98FC239E11}"/>
                  </a:ext>
                </a:extLst>
              </p:cNvPr>
              <p:cNvSpPr/>
              <p:nvPr/>
            </p:nvSpPr>
            <p:spPr>
              <a:xfrm>
                <a:off x="3614168" y="1519531"/>
                <a:ext cx="822599" cy="822598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A5FC29BC-879A-4F76-91AB-81DDE390D93A}"/>
                  </a:ext>
                </a:extLst>
              </p:cNvPr>
              <p:cNvSpPr/>
              <p:nvPr/>
            </p:nvSpPr>
            <p:spPr bwMode="auto">
              <a:xfrm>
                <a:off x="3843474" y="1737360"/>
                <a:ext cx="363985" cy="386940"/>
              </a:xfrm>
              <a:custGeom>
                <a:avLst/>
                <a:gdLst>
                  <a:gd name="T0" fmla="*/ 5573 w 7665"/>
                  <a:gd name="T1" fmla="*/ 3911 h 8160"/>
                  <a:gd name="T2" fmla="*/ 4313 w 7665"/>
                  <a:gd name="T3" fmla="*/ 3955 h 8160"/>
                  <a:gd name="T4" fmla="*/ 3511 w 7665"/>
                  <a:gd name="T5" fmla="*/ 2721 h 8160"/>
                  <a:gd name="T6" fmla="*/ 4612 w 7665"/>
                  <a:gd name="T7" fmla="*/ 2386 h 8160"/>
                  <a:gd name="T8" fmla="*/ 5309 w 7665"/>
                  <a:gd name="T9" fmla="*/ 2472 h 8160"/>
                  <a:gd name="T10" fmla="*/ 3648 w 7665"/>
                  <a:gd name="T11" fmla="*/ 7533 h 8160"/>
                  <a:gd name="T12" fmla="*/ 5037 w 7665"/>
                  <a:gd name="T13" fmla="*/ 6233 h 8160"/>
                  <a:gd name="T14" fmla="*/ 4919 w 7665"/>
                  <a:gd name="T15" fmla="*/ 6025 h 8160"/>
                  <a:gd name="T16" fmla="*/ 3511 w 7665"/>
                  <a:gd name="T17" fmla="*/ 7213 h 8160"/>
                  <a:gd name="T18" fmla="*/ 3577 w 7665"/>
                  <a:gd name="T19" fmla="*/ 7514 h 8160"/>
                  <a:gd name="T20" fmla="*/ 5309 w 7665"/>
                  <a:gd name="T21" fmla="*/ 5688 h 8160"/>
                  <a:gd name="T22" fmla="*/ 5573 w 7665"/>
                  <a:gd name="T23" fmla="*/ 4249 h 8160"/>
                  <a:gd name="T24" fmla="*/ 4561 w 7665"/>
                  <a:gd name="T25" fmla="*/ 4206 h 8160"/>
                  <a:gd name="T26" fmla="*/ 4857 w 7665"/>
                  <a:gd name="T27" fmla="*/ 5774 h 8160"/>
                  <a:gd name="T28" fmla="*/ 5309 w 7665"/>
                  <a:gd name="T29" fmla="*/ 5688 h 8160"/>
                  <a:gd name="T30" fmla="*/ 5589 w 7665"/>
                  <a:gd name="T31" fmla="*/ 2569 h 8160"/>
                  <a:gd name="T32" fmla="*/ 5973 w 7665"/>
                  <a:gd name="T33" fmla="*/ 3955 h 8160"/>
                  <a:gd name="T34" fmla="*/ 7625 w 7665"/>
                  <a:gd name="T35" fmla="*/ 3911 h 8160"/>
                  <a:gd name="T36" fmla="*/ 7338 w 7665"/>
                  <a:gd name="T37" fmla="*/ 2468 h 8160"/>
                  <a:gd name="T38" fmla="*/ 5718 w 7665"/>
                  <a:gd name="T39" fmla="*/ 2386 h 8160"/>
                  <a:gd name="T40" fmla="*/ 6930 w 7665"/>
                  <a:gd name="T41" fmla="*/ 6025 h 8160"/>
                  <a:gd name="T42" fmla="*/ 5368 w 7665"/>
                  <a:gd name="T43" fmla="*/ 6100 h 8160"/>
                  <a:gd name="T44" fmla="*/ 3511 w 7665"/>
                  <a:gd name="T45" fmla="*/ 7950 h 8160"/>
                  <a:gd name="T46" fmla="*/ 3649 w 7665"/>
                  <a:gd name="T47" fmla="*/ 8107 h 8160"/>
                  <a:gd name="T48" fmla="*/ 7051 w 7665"/>
                  <a:gd name="T49" fmla="*/ 6096 h 8160"/>
                  <a:gd name="T50" fmla="*/ 7525 w 7665"/>
                  <a:gd name="T51" fmla="*/ 4206 h 8160"/>
                  <a:gd name="T52" fmla="*/ 5836 w 7665"/>
                  <a:gd name="T53" fmla="*/ 4335 h 8160"/>
                  <a:gd name="T54" fmla="*/ 5606 w 7665"/>
                  <a:gd name="T55" fmla="*/ 5716 h 8160"/>
                  <a:gd name="T56" fmla="*/ 7212 w 7665"/>
                  <a:gd name="T57" fmla="*/ 5774 h 8160"/>
                  <a:gd name="T58" fmla="*/ 7662 w 7665"/>
                  <a:gd name="T59" fmla="*/ 4352 h 8160"/>
                  <a:gd name="T60" fmla="*/ 7525 w 7665"/>
                  <a:gd name="T61" fmla="*/ 4206 h 8160"/>
                  <a:gd name="T62" fmla="*/ 5368 w 7665"/>
                  <a:gd name="T63" fmla="*/ 2061 h 8160"/>
                  <a:gd name="T64" fmla="*/ 6930 w 7665"/>
                  <a:gd name="T65" fmla="*/ 2136 h 8160"/>
                  <a:gd name="T66" fmla="*/ 7046 w 7665"/>
                  <a:gd name="T67" fmla="*/ 1924 h 8160"/>
                  <a:gd name="T68" fmla="*/ 3511 w 7665"/>
                  <a:gd name="T69" fmla="*/ 210 h 8160"/>
                  <a:gd name="T70" fmla="*/ 4320 w 7665"/>
                  <a:gd name="T71" fmla="*/ 1361 h 8160"/>
                  <a:gd name="T72" fmla="*/ 4686 w 7665"/>
                  <a:gd name="T73" fmla="*/ 2136 h 8160"/>
                  <a:gd name="T74" fmla="*/ 5039 w 7665"/>
                  <a:gd name="T75" fmla="*/ 2066 h 8160"/>
                  <a:gd name="T76" fmla="*/ 3713 w 7665"/>
                  <a:gd name="T77" fmla="*/ 642 h 8160"/>
                  <a:gd name="T78" fmla="*/ 3511 w 7665"/>
                  <a:gd name="T79" fmla="*/ 764 h 8160"/>
                  <a:gd name="T80" fmla="*/ 4320 w 7665"/>
                  <a:gd name="T81" fmla="*/ 1361 h 8160"/>
                  <a:gd name="T82" fmla="*/ 1517 w 7665"/>
                  <a:gd name="T83" fmla="*/ 2691 h 8160"/>
                  <a:gd name="T84" fmla="*/ 2294 w 7665"/>
                  <a:gd name="T85" fmla="*/ 2147 h 8160"/>
                  <a:gd name="T86" fmla="*/ 3899 w 7665"/>
                  <a:gd name="T87" fmla="*/ 2648 h 8160"/>
                  <a:gd name="T88" fmla="*/ 4226 w 7665"/>
                  <a:gd name="T89" fmla="*/ 1509 h 8160"/>
                  <a:gd name="T90" fmla="*/ 2941 w 7665"/>
                  <a:gd name="T91" fmla="*/ 575 h 8160"/>
                  <a:gd name="T92" fmla="*/ 1792 w 7665"/>
                  <a:gd name="T93" fmla="*/ 575 h 8160"/>
                  <a:gd name="T94" fmla="*/ 198 w 7665"/>
                  <a:gd name="T95" fmla="*/ 2794 h 8160"/>
                  <a:gd name="T96" fmla="*/ 2199 w 7665"/>
                  <a:gd name="T97" fmla="*/ 4658 h 8160"/>
                  <a:gd name="T98" fmla="*/ 3415 w 7665"/>
                  <a:gd name="T99" fmla="*/ 5443 h 8160"/>
                  <a:gd name="T100" fmla="*/ 999 w 7665"/>
                  <a:gd name="T101" fmla="*/ 5469 h 8160"/>
                  <a:gd name="T102" fmla="*/ 0 w 7665"/>
                  <a:gd name="T103" fmla="*/ 5961 h 8160"/>
                  <a:gd name="T104" fmla="*/ 1792 w 7665"/>
                  <a:gd name="T105" fmla="*/ 7111 h 8160"/>
                  <a:gd name="T106" fmla="*/ 2367 w 7665"/>
                  <a:gd name="T107" fmla="*/ 8160 h 8160"/>
                  <a:gd name="T108" fmla="*/ 2941 w 7665"/>
                  <a:gd name="T109" fmla="*/ 7158 h 8160"/>
                  <a:gd name="T110" fmla="*/ 4735 w 7665"/>
                  <a:gd name="T111" fmla="*/ 5296 h 8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665" h="8160">
                    <a:moveTo>
                      <a:pt x="5610" y="3809"/>
                    </a:moveTo>
                    <a:cubicBezTo>
                      <a:pt x="5613" y="3847"/>
                      <a:pt x="5599" y="3884"/>
                      <a:pt x="5573" y="3911"/>
                    </a:cubicBezTo>
                    <a:cubicBezTo>
                      <a:pt x="5547" y="3939"/>
                      <a:pt x="5511" y="3955"/>
                      <a:pt x="5473" y="3955"/>
                    </a:cubicBezTo>
                    <a:lnTo>
                      <a:pt x="4313" y="3955"/>
                    </a:lnTo>
                    <a:cubicBezTo>
                      <a:pt x="4087" y="3768"/>
                      <a:pt x="3811" y="3628"/>
                      <a:pt x="3511" y="3515"/>
                    </a:cubicBezTo>
                    <a:lnTo>
                      <a:pt x="3511" y="2721"/>
                    </a:lnTo>
                    <a:cubicBezTo>
                      <a:pt x="3637" y="2788"/>
                      <a:pt x="3761" y="2824"/>
                      <a:pt x="3899" y="2824"/>
                    </a:cubicBezTo>
                    <a:cubicBezTo>
                      <a:pt x="4217" y="2824"/>
                      <a:pt x="4484" y="2647"/>
                      <a:pt x="4612" y="2386"/>
                    </a:cubicBezTo>
                    <a:lnTo>
                      <a:pt x="5182" y="2386"/>
                    </a:lnTo>
                    <a:cubicBezTo>
                      <a:pt x="5238" y="2386"/>
                      <a:pt x="5288" y="2420"/>
                      <a:pt x="5309" y="2472"/>
                    </a:cubicBezTo>
                    <a:cubicBezTo>
                      <a:pt x="5480" y="2893"/>
                      <a:pt x="5582" y="3343"/>
                      <a:pt x="5610" y="3809"/>
                    </a:cubicBezTo>
                    <a:close/>
                    <a:moveTo>
                      <a:pt x="3648" y="7533"/>
                    </a:moveTo>
                    <a:cubicBezTo>
                      <a:pt x="3670" y="7533"/>
                      <a:pt x="3693" y="7528"/>
                      <a:pt x="3713" y="7518"/>
                    </a:cubicBezTo>
                    <a:cubicBezTo>
                      <a:pt x="4244" y="7237"/>
                      <a:pt x="4702" y="6793"/>
                      <a:pt x="5037" y="6233"/>
                    </a:cubicBezTo>
                    <a:cubicBezTo>
                      <a:pt x="5063" y="6190"/>
                      <a:pt x="5063" y="6137"/>
                      <a:pt x="5039" y="6094"/>
                    </a:cubicBezTo>
                    <a:cubicBezTo>
                      <a:pt x="5015" y="6051"/>
                      <a:pt x="4969" y="6025"/>
                      <a:pt x="4919" y="6025"/>
                    </a:cubicBezTo>
                    <a:lnTo>
                      <a:pt x="4793" y="6025"/>
                    </a:lnTo>
                    <a:cubicBezTo>
                      <a:pt x="4595" y="6595"/>
                      <a:pt x="4150" y="7008"/>
                      <a:pt x="3511" y="7213"/>
                    </a:cubicBezTo>
                    <a:lnTo>
                      <a:pt x="3511" y="7396"/>
                    </a:lnTo>
                    <a:cubicBezTo>
                      <a:pt x="3511" y="7444"/>
                      <a:pt x="3536" y="7489"/>
                      <a:pt x="3577" y="7514"/>
                    </a:cubicBezTo>
                    <a:cubicBezTo>
                      <a:pt x="3599" y="7527"/>
                      <a:pt x="3624" y="7533"/>
                      <a:pt x="3648" y="7533"/>
                    </a:cubicBezTo>
                    <a:close/>
                    <a:moveTo>
                      <a:pt x="5309" y="5688"/>
                    </a:moveTo>
                    <a:cubicBezTo>
                      <a:pt x="5480" y="5267"/>
                      <a:pt x="5582" y="4817"/>
                      <a:pt x="5610" y="4351"/>
                    </a:cubicBezTo>
                    <a:cubicBezTo>
                      <a:pt x="5613" y="4314"/>
                      <a:pt x="5599" y="4277"/>
                      <a:pt x="5573" y="4249"/>
                    </a:cubicBezTo>
                    <a:cubicBezTo>
                      <a:pt x="5547" y="4221"/>
                      <a:pt x="5511" y="4206"/>
                      <a:pt x="5473" y="4206"/>
                    </a:cubicBezTo>
                    <a:lnTo>
                      <a:pt x="4561" y="4206"/>
                    </a:lnTo>
                    <a:cubicBezTo>
                      <a:pt x="4779" y="4480"/>
                      <a:pt x="4911" y="4831"/>
                      <a:pt x="4911" y="5296"/>
                    </a:cubicBezTo>
                    <a:cubicBezTo>
                      <a:pt x="4911" y="5465"/>
                      <a:pt x="4889" y="5622"/>
                      <a:pt x="4857" y="5774"/>
                    </a:cubicBezTo>
                    <a:lnTo>
                      <a:pt x="5181" y="5774"/>
                    </a:lnTo>
                    <a:cubicBezTo>
                      <a:pt x="5238" y="5774"/>
                      <a:pt x="5288" y="5740"/>
                      <a:pt x="5309" y="5688"/>
                    </a:cubicBezTo>
                    <a:close/>
                    <a:moveTo>
                      <a:pt x="5606" y="2444"/>
                    </a:moveTo>
                    <a:cubicBezTo>
                      <a:pt x="5580" y="2481"/>
                      <a:pt x="5574" y="2527"/>
                      <a:pt x="5589" y="2569"/>
                    </a:cubicBezTo>
                    <a:cubicBezTo>
                      <a:pt x="5729" y="2964"/>
                      <a:pt x="5812" y="3386"/>
                      <a:pt x="5836" y="3824"/>
                    </a:cubicBezTo>
                    <a:cubicBezTo>
                      <a:pt x="5840" y="3898"/>
                      <a:pt x="5900" y="3955"/>
                      <a:pt x="5973" y="3955"/>
                    </a:cubicBezTo>
                    <a:lnTo>
                      <a:pt x="7525" y="3955"/>
                    </a:lnTo>
                    <a:cubicBezTo>
                      <a:pt x="7563" y="3955"/>
                      <a:pt x="7599" y="3939"/>
                      <a:pt x="7625" y="3911"/>
                    </a:cubicBezTo>
                    <a:cubicBezTo>
                      <a:pt x="7651" y="3883"/>
                      <a:pt x="7664" y="3846"/>
                      <a:pt x="7662" y="3808"/>
                    </a:cubicBezTo>
                    <a:cubicBezTo>
                      <a:pt x="7630" y="3339"/>
                      <a:pt x="7521" y="2888"/>
                      <a:pt x="7338" y="2468"/>
                    </a:cubicBezTo>
                    <a:cubicBezTo>
                      <a:pt x="7316" y="2418"/>
                      <a:pt x="7266" y="2386"/>
                      <a:pt x="7212" y="2386"/>
                    </a:cubicBezTo>
                    <a:lnTo>
                      <a:pt x="5718" y="2386"/>
                    </a:lnTo>
                    <a:cubicBezTo>
                      <a:pt x="5674" y="2386"/>
                      <a:pt x="5632" y="2408"/>
                      <a:pt x="5606" y="2444"/>
                    </a:cubicBezTo>
                    <a:close/>
                    <a:moveTo>
                      <a:pt x="6930" y="6025"/>
                    </a:moveTo>
                    <a:lnTo>
                      <a:pt x="5491" y="6025"/>
                    </a:lnTo>
                    <a:cubicBezTo>
                      <a:pt x="5439" y="6025"/>
                      <a:pt x="5392" y="6054"/>
                      <a:pt x="5368" y="6100"/>
                    </a:cubicBezTo>
                    <a:cubicBezTo>
                      <a:pt x="4966" y="6890"/>
                      <a:pt x="4335" y="7502"/>
                      <a:pt x="3594" y="7824"/>
                    </a:cubicBezTo>
                    <a:cubicBezTo>
                      <a:pt x="3544" y="7846"/>
                      <a:pt x="3511" y="7895"/>
                      <a:pt x="3511" y="7950"/>
                    </a:cubicBezTo>
                    <a:lnTo>
                      <a:pt x="3511" y="7969"/>
                    </a:lnTo>
                    <a:cubicBezTo>
                      <a:pt x="3511" y="8046"/>
                      <a:pt x="3573" y="8107"/>
                      <a:pt x="3649" y="8107"/>
                    </a:cubicBezTo>
                    <a:cubicBezTo>
                      <a:pt x="5031" y="8107"/>
                      <a:pt x="6301" y="7407"/>
                      <a:pt x="7046" y="6236"/>
                    </a:cubicBezTo>
                    <a:cubicBezTo>
                      <a:pt x="7073" y="6194"/>
                      <a:pt x="7075" y="6140"/>
                      <a:pt x="7051" y="6096"/>
                    </a:cubicBezTo>
                    <a:cubicBezTo>
                      <a:pt x="7026" y="6052"/>
                      <a:pt x="6980" y="6025"/>
                      <a:pt x="6930" y="6025"/>
                    </a:cubicBezTo>
                    <a:close/>
                    <a:moveTo>
                      <a:pt x="7525" y="4206"/>
                    </a:moveTo>
                    <a:lnTo>
                      <a:pt x="5974" y="4206"/>
                    </a:lnTo>
                    <a:cubicBezTo>
                      <a:pt x="5901" y="4206"/>
                      <a:pt x="5840" y="4263"/>
                      <a:pt x="5836" y="4335"/>
                    </a:cubicBezTo>
                    <a:cubicBezTo>
                      <a:pt x="5812" y="4774"/>
                      <a:pt x="5729" y="5196"/>
                      <a:pt x="5589" y="5591"/>
                    </a:cubicBezTo>
                    <a:cubicBezTo>
                      <a:pt x="5574" y="5632"/>
                      <a:pt x="5580" y="5679"/>
                      <a:pt x="5606" y="5716"/>
                    </a:cubicBezTo>
                    <a:cubicBezTo>
                      <a:pt x="5632" y="5752"/>
                      <a:pt x="5674" y="5774"/>
                      <a:pt x="5718" y="5774"/>
                    </a:cubicBezTo>
                    <a:lnTo>
                      <a:pt x="7212" y="5774"/>
                    </a:lnTo>
                    <a:cubicBezTo>
                      <a:pt x="7266" y="5774"/>
                      <a:pt x="7316" y="5742"/>
                      <a:pt x="7338" y="5692"/>
                    </a:cubicBezTo>
                    <a:cubicBezTo>
                      <a:pt x="7522" y="5273"/>
                      <a:pt x="7630" y="4822"/>
                      <a:pt x="7662" y="4352"/>
                    </a:cubicBezTo>
                    <a:cubicBezTo>
                      <a:pt x="7665" y="4314"/>
                      <a:pt x="7651" y="4277"/>
                      <a:pt x="7625" y="4249"/>
                    </a:cubicBezTo>
                    <a:cubicBezTo>
                      <a:pt x="7599" y="4221"/>
                      <a:pt x="7563" y="4206"/>
                      <a:pt x="7525" y="4206"/>
                    </a:cubicBezTo>
                    <a:close/>
                    <a:moveTo>
                      <a:pt x="3594" y="336"/>
                    </a:moveTo>
                    <a:cubicBezTo>
                      <a:pt x="4335" y="658"/>
                      <a:pt x="4966" y="1270"/>
                      <a:pt x="5368" y="2061"/>
                    </a:cubicBezTo>
                    <a:cubicBezTo>
                      <a:pt x="5392" y="2107"/>
                      <a:pt x="5439" y="2136"/>
                      <a:pt x="5491" y="2136"/>
                    </a:cubicBezTo>
                    <a:lnTo>
                      <a:pt x="6930" y="2136"/>
                    </a:lnTo>
                    <a:cubicBezTo>
                      <a:pt x="6980" y="2136"/>
                      <a:pt x="7026" y="2108"/>
                      <a:pt x="7051" y="2064"/>
                    </a:cubicBezTo>
                    <a:cubicBezTo>
                      <a:pt x="7075" y="2020"/>
                      <a:pt x="7073" y="1967"/>
                      <a:pt x="7046" y="1924"/>
                    </a:cubicBezTo>
                    <a:cubicBezTo>
                      <a:pt x="6301" y="752"/>
                      <a:pt x="5031" y="53"/>
                      <a:pt x="3648" y="53"/>
                    </a:cubicBezTo>
                    <a:cubicBezTo>
                      <a:pt x="3572" y="53"/>
                      <a:pt x="3511" y="134"/>
                      <a:pt x="3511" y="210"/>
                    </a:cubicBezTo>
                    <a:cubicBezTo>
                      <a:pt x="3511" y="265"/>
                      <a:pt x="3543" y="314"/>
                      <a:pt x="3594" y="336"/>
                    </a:cubicBezTo>
                    <a:close/>
                    <a:moveTo>
                      <a:pt x="4320" y="1361"/>
                    </a:moveTo>
                    <a:cubicBezTo>
                      <a:pt x="4499" y="1464"/>
                      <a:pt x="4696" y="1698"/>
                      <a:pt x="4696" y="2036"/>
                    </a:cubicBezTo>
                    <a:cubicBezTo>
                      <a:pt x="4696" y="2070"/>
                      <a:pt x="4690" y="2103"/>
                      <a:pt x="4686" y="2136"/>
                    </a:cubicBezTo>
                    <a:lnTo>
                      <a:pt x="4920" y="2136"/>
                    </a:lnTo>
                    <a:cubicBezTo>
                      <a:pt x="4969" y="2136"/>
                      <a:pt x="5015" y="2109"/>
                      <a:pt x="5039" y="2066"/>
                    </a:cubicBezTo>
                    <a:cubicBezTo>
                      <a:pt x="5064" y="2023"/>
                      <a:pt x="5063" y="1970"/>
                      <a:pt x="5038" y="1928"/>
                    </a:cubicBezTo>
                    <a:cubicBezTo>
                      <a:pt x="4702" y="1367"/>
                      <a:pt x="4244" y="923"/>
                      <a:pt x="3713" y="642"/>
                    </a:cubicBezTo>
                    <a:cubicBezTo>
                      <a:pt x="3670" y="620"/>
                      <a:pt x="3619" y="622"/>
                      <a:pt x="3577" y="646"/>
                    </a:cubicBezTo>
                    <a:cubicBezTo>
                      <a:pt x="3536" y="671"/>
                      <a:pt x="3511" y="716"/>
                      <a:pt x="3511" y="764"/>
                    </a:cubicBezTo>
                    <a:lnTo>
                      <a:pt x="3511" y="987"/>
                    </a:lnTo>
                    <a:cubicBezTo>
                      <a:pt x="3800" y="1079"/>
                      <a:pt x="4072" y="1202"/>
                      <a:pt x="4320" y="1361"/>
                    </a:cubicBezTo>
                    <a:close/>
                    <a:moveTo>
                      <a:pt x="2820" y="3484"/>
                    </a:moveTo>
                    <a:cubicBezTo>
                      <a:pt x="1775" y="3217"/>
                      <a:pt x="1517" y="3088"/>
                      <a:pt x="1517" y="2691"/>
                    </a:cubicBezTo>
                    <a:lnTo>
                      <a:pt x="1517" y="2673"/>
                    </a:lnTo>
                    <a:cubicBezTo>
                      <a:pt x="1517" y="2380"/>
                      <a:pt x="1784" y="2147"/>
                      <a:pt x="2294" y="2147"/>
                    </a:cubicBezTo>
                    <a:cubicBezTo>
                      <a:pt x="2708" y="2147"/>
                      <a:pt x="3122" y="2294"/>
                      <a:pt x="3562" y="2553"/>
                    </a:cubicBezTo>
                    <a:cubicBezTo>
                      <a:pt x="3665" y="2613"/>
                      <a:pt x="3769" y="2648"/>
                      <a:pt x="3899" y="2648"/>
                    </a:cubicBezTo>
                    <a:cubicBezTo>
                      <a:pt x="4244" y="2648"/>
                      <a:pt x="4520" y="2380"/>
                      <a:pt x="4520" y="2035"/>
                    </a:cubicBezTo>
                    <a:cubicBezTo>
                      <a:pt x="4520" y="1777"/>
                      <a:pt x="4373" y="1594"/>
                      <a:pt x="4226" y="1509"/>
                    </a:cubicBezTo>
                    <a:cubicBezTo>
                      <a:pt x="3846" y="1267"/>
                      <a:pt x="3415" y="1107"/>
                      <a:pt x="2941" y="1029"/>
                    </a:cubicBezTo>
                    <a:lnTo>
                      <a:pt x="2941" y="575"/>
                    </a:lnTo>
                    <a:cubicBezTo>
                      <a:pt x="2941" y="257"/>
                      <a:pt x="2685" y="0"/>
                      <a:pt x="2367" y="0"/>
                    </a:cubicBezTo>
                    <a:cubicBezTo>
                      <a:pt x="2049" y="0"/>
                      <a:pt x="1792" y="257"/>
                      <a:pt x="1792" y="575"/>
                    </a:cubicBezTo>
                    <a:lnTo>
                      <a:pt x="1792" y="1025"/>
                    </a:lnTo>
                    <a:cubicBezTo>
                      <a:pt x="840" y="1201"/>
                      <a:pt x="198" y="1860"/>
                      <a:pt x="198" y="2794"/>
                    </a:cubicBezTo>
                    <a:lnTo>
                      <a:pt x="198" y="2812"/>
                    </a:lnTo>
                    <a:cubicBezTo>
                      <a:pt x="198" y="4011"/>
                      <a:pt x="983" y="4348"/>
                      <a:pt x="2199" y="4658"/>
                    </a:cubicBezTo>
                    <a:cubicBezTo>
                      <a:pt x="3208" y="4918"/>
                      <a:pt x="3415" y="5090"/>
                      <a:pt x="3415" y="5426"/>
                    </a:cubicBezTo>
                    <a:lnTo>
                      <a:pt x="3415" y="5443"/>
                    </a:lnTo>
                    <a:cubicBezTo>
                      <a:pt x="3415" y="5797"/>
                      <a:pt x="3087" y="6012"/>
                      <a:pt x="2544" y="6012"/>
                    </a:cubicBezTo>
                    <a:cubicBezTo>
                      <a:pt x="1957" y="6012"/>
                      <a:pt x="1457" y="5805"/>
                      <a:pt x="999" y="5469"/>
                    </a:cubicBezTo>
                    <a:cubicBezTo>
                      <a:pt x="913" y="5409"/>
                      <a:pt x="793" y="5349"/>
                      <a:pt x="621" y="5349"/>
                    </a:cubicBezTo>
                    <a:cubicBezTo>
                      <a:pt x="275" y="5349"/>
                      <a:pt x="0" y="5616"/>
                      <a:pt x="0" y="5961"/>
                    </a:cubicBezTo>
                    <a:cubicBezTo>
                      <a:pt x="0" y="6168"/>
                      <a:pt x="103" y="6358"/>
                      <a:pt x="250" y="6461"/>
                    </a:cubicBezTo>
                    <a:cubicBezTo>
                      <a:pt x="717" y="6796"/>
                      <a:pt x="1247" y="7008"/>
                      <a:pt x="1792" y="7111"/>
                    </a:cubicBezTo>
                    <a:lnTo>
                      <a:pt x="1792" y="7586"/>
                    </a:lnTo>
                    <a:cubicBezTo>
                      <a:pt x="1792" y="7903"/>
                      <a:pt x="2049" y="8160"/>
                      <a:pt x="2367" y="8160"/>
                    </a:cubicBezTo>
                    <a:cubicBezTo>
                      <a:pt x="2684" y="8160"/>
                      <a:pt x="2941" y="7903"/>
                      <a:pt x="2941" y="7586"/>
                    </a:cubicBezTo>
                    <a:lnTo>
                      <a:pt x="2941" y="7158"/>
                    </a:lnTo>
                    <a:cubicBezTo>
                      <a:pt x="4013" y="7025"/>
                      <a:pt x="4735" y="6378"/>
                      <a:pt x="4735" y="5314"/>
                    </a:cubicBezTo>
                    <a:lnTo>
                      <a:pt x="4735" y="5296"/>
                    </a:lnTo>
                    <a:cubicBezTo>
                      <a:pt x="4735" y="4244"/>
                      <a:pt x="4044" y="3804"/>
                      <a:pt x="2820" y="348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1CCBB29-7176-4805-A943-EF146117B539}"/>
                </a:ext>
              </a:extLst>
            </p:cNvPr>
            <p:cNvGrpSpPr/>
            <p:nvPr/>
          </p:nvGrpSpPr>
          <p:grpSpPr>
            <a:xfrm>
              <a:off x="7755233" y="1784932"/>
              <a:ext cx="822599" cy="822598"/>
              <a:chOff x="3614168" y="1519531"/>
              <a:chExt cx="822599" cy="822598"/>
            </a:xfrm>
          </p:grpSpPr>
          <p:sp>
            <p:nvSpPr>
              <p:cNvPr id="37" name="椭圆 36">
                <a:extLst>
                  <a:ext uri="{FF2B5EF4-FFF2-40B4-BE49-F238E27FC236}">
                    <a16:creationId xmlns:a16="http://schemas.microsoft.com/office/drawing/2014/main" id="{BE4E36A8-F87C-4D3B-9FD3-0D540CA02E26}"/>
                  </a:ext>
                </a:extLst>
              </p:cNvPr>
              <p:cNvSpPr/>
              <p:nvPr/>
            </p:nvSpPr>
            <p:spPr>
              <a:xfrm>
                <a:off x="3614168" y="1519531"/>
                <a:ext cx="822599" cy="822598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FADB3722-84D1-4AE2-A572-872646A29076}"/>
                  </a:ext>
                </a:extLst>
              </p:cNvPr>
              <p:cNvSpPr/>
              <p:nvPr/>
            </p:nvSpPr>
            <p:spPr bwMode="auto">
              <a:xfrm>
                <a:off x="3842927" y="1737360"/>
                <a:ext cx="365079" cy="386940"/>
              </a:xfrm>
              <a:custGeom>
                <a:avLst/>
                <a:gdLst>
                  <a:gd name="connsiteX0" fmla="*/ 243610 w 568260"/>
                  <a:gd name="connsiteY0" fmla="*/ 494469 h 602287"/>
                  <a:gd name="connsiteX1" fmla="*/ 333117 w 568260"/>
                  <a:gd name="connsiteY1" fmla="*/ 494469 h 602287"/>
                  <a:gd name="connsiteX2" fmla="*/ 343267 w 568260"/>
                  <a:gd name="connsiteY2" fmla="*/ 500919 h 602287"/>
                  <a:gd name="connsiteX3" fmla="*/ 346958 w 568260"/>
                  <a:gd name="connsiteY3" fmla="*/ 510134 h 602287"/>
                  <a:gd name="connsiteX4" fmla="*/ 357108 w 568260"/>
                  <a:gd name="connsiteY4" fmla="*/ 535016 h 602287"/>
                  <a:gd name="connsiteX5" fmla="*/ 370027 w 568260"/>
                  <a:gd name="connsiteY5" fmla="*/ 563583 h 602287"/>
                  <a:gd name="connsiteX6" fmla="*/ 376486 w 568260"/>
                  <a:gd name="connsiteY6" fmla="*/ 580170 h 602287"/>
                  <a:gd name="connsiteX7" fmla="*/ 377409 w 568260"/>
                  <a:gd name="connsiteY7" fmla="*/ 582935 h 602287"/>
                  <a:gd name="connsiteX8" fmla="*/ 377409 w 568260"/>
                  <a:gd name="connsiteY8" fmla="*/ 583856 h 602287"/>
                  <a:gd name="connsiteX9" fmla="*/ 377409 w 568260"/>
                  <a:gd name="connsiteY9" fmla="*/ 585700 h 602287"/>
                  <a:gd name="connsiteX10" fmla="*/ 377409 w 568260"/>
                  <a:gd name="connsiteY10" fmla="*/ 586621 h 602287"/>
                  <a:gd name="connsiteX11" fmla="*/ 377409 w 568260"/>
                  <a:gd name="connsiteY11" fmla="*/ 588464 h 602287"/>
                  <a:gd name="connsiteX12" fmla="*/ 377409 w 568260"/>
                  <a:gd name="connsiteY12" fmla="*/ 589386 h 602287"/>
                  <a:gd name="connsiteX13" fmla="*/ 376486 w 568260"/>
                  <a:gd name="connsiteY13" fmla="*/ 590307 h 602287"/>
                  <a:gd name="connsiteX14" fmla="*/ 376486 w 568260"/>
                  <a:gd name="connsiteY14" fmla="*/ 591229 h 602287"/>
                  <a:gd name="connsiteX15" fmla="*/ 375564 w 568260"/>
                  <a:gd name="connsiteY15" fmla="*/ 593072 h 602287"/>
                  <a:gd name="connsiteX16" fmla="*/ 374641 w 568260"/>
                  <a:gd name="connsiteY16" fmla="*/ 593993 h 602287"/>
                  <a:gd name="connsiteX17" fmla="*/ 373718 w 568260"/>
                  <a:gd name="connsiteY17" fmla="*/ 594915 h 602287"/>
                  <a:gd name="connsiteX18" fmla="*/ 373718 w 568260"/>
                  <a:gd name="connsiteY18" fmla="*/ 595836 h 602287"/>
                  <a:gd name="connsiteX19" fmla="*/ 371872 w 568260"/>
                  <a:gd name="connsiteY19" fmla="*/ 596758 h 602287"/>
                  <a:gd name="connsiteX20" fmla="*/ 370027 w 568260"/>
                  <a:gd name="connsiteY20" fmla="*/ 597679 h 602287"/>
                  <a:gd name="connsiteX21" fmla="*/ 354340 w 568260"/>
                  <a:gd name="connsiteY21" fmla="*/ 593072 h 602287"/>
                  <a:gd name="connsiteX22" fmla="*/ 337731 w 568260"/>
                  <a:gd name="connsiteY22" fmla="*/ 554368 h 602287"/>
                  <a:gd name="connsiteX23" fmla="*/ 333117 w 568260"/>
                  <a:gd name="connsiteY23" fmla="*/ 543309 h 602287"/>
                  <a:gd name="connsiteX24" fmla="*/ 333117 w 568260"/>
                  <a:gd name="connsiteY24" fmla="*/ 563583 h 602287"/>
                  <a:gd name="connsiteX25" fmla="*/ 333117 w 568260"/>
                  <a:gd name="connsiteY25" fmla="*/ 597679 h 602287"/>
                  <a:gd name="connsiteX26" fmla="*/ 333117 w 568260"/>
                  <a:gd name="connsiteY26" fmla="*/ 602287 h 602287"/>
                  <a:gd name="connsiteX27" fmla="*/ 243610 w 568260"/>
                  <a:gd name="connsiteY27" fmla="*/ 602287 h 602287"/>
                  <a:gd name="connsiteX28" fmla="*/ 243610 w 568260"/>
                  <a:gd name="connsiteY28" fmla="*/ 597679 h 602287"/>
                  <a:gd name="connsiteX29" fmla="*/ 243610 w 568260"/>
                  <a:gd name="connsiteY29" fmla="*/ 567269 h 602287"/>
                  <a:gd name="connsiteX30" fmla="*/ 243610 w 568260"/>
                  <a:gd name="connsiteY30" fmla="*/ 553446 h 602287"/>
                  <a:gd name="connsiteX31" fmla="*/ 243610 w 568260"/>
                  <a:gd name="connsiteY31" fmla="*/ 543309 h 602287"/>
                  <a:gd name="connsiteX32" fmla="*/ 238073 w 568260"/>
                  <a:gd name="connsiteY32" fmla="*/ 556211 h 602287"/>
                  <a:gd name="connsiteX33" fmla="*/ 230691 w 568260"/>
                  <a:gd name="connsiteY33" fmla="*/ 574641 h 602287"/>
                  <a:gd name="connsiteX34" fmla="*/ 225155 w 568260"/>
                  <a:gd name="connsiteY34" fmla="*/ 587543 h 602287"/>
                  <a:gd name="connsiteX35" fmla="*/ 203932 w 568260"/>
                  <a:gd name="connsiteY35" fmla="*/ 574641 h 602287"/>
                  <a:gd name="connsiteX36" fmla="*/ 215005 w 568260"/>
                  <a:gd name="connsiteY36" fmla="*/ 550682 h 602287"/>
                  <a:gd name="connsiteX37" fmla="*/ 222387 w 568260"/>
                  <a:gd name="connsiteY37" fmla="*/ 532251 h 602287"/>
                  <a:gd name="connsiteX38" fmla="*/ 236228 w 568260"/>
                  <a:gd name="connsiteY38" fmla="*/ 500919 h 602287"/>
                  <a:gd name="connsiteX39" fmla="*/ 243610 w 568260"/>
                  <a:gd name="connsiteY39" fmla="*/ 494469 h 602287"/>
                  <a:gd name="connsiteX40" fmla="*/ 369910 w 568260"/>
                  <a:gd name="connsiteY40" fmla="*/ 468692 h 602287"/>
                  <a:gd name="connsiteX41" fmla="*/ 458484 w 568260"/>
                  <a:gd name="connsiteY41" fmla="*/ 468692 h 602287"/>
                  <a:gd name="connsiteX42" fmla="*/ 468633 w 568260"/>
                  <a:gd name="connsiteY42" fmla="*/ 476063 h 602287"/>
                  <a:gd name="connsiteX43" fmla="*/ 502770 w 568260"/>
                  <a:gd name="connsiteY43" fmla="*/ 554377 h 602287"/>
                  <a:gd name="connsiteX44" fmla="*/ 480627 w 568260"/>
                  <a:gd name="connsiteY44" fmla="*/ 567276 h 602287"/>
                  <a:gd name="connsiteX45" fmla="*/ 458484 w 568260"/>
                  <a:gd name="connsiteY45" fmla="*/ 517523 h 602287"/>
                  <a:gd name="connsiteX46" fmla="*/ 458484 w 568260"/>
                  <a:gd name="connsiteY46" fmla="*/ 572804 h 602287"/>
                  <a:gd name="connsiteX47" fmla="*/ 458484 w 568260"/>
                  <a:gd name="connsiteY47" fmla="*/ 600444 h 602287"/>
                  <a:gd name="connsiteX48" fmla="*/ 458484 w 568260"/>
                  <a:gd name="connsiteY48" fmla="*/ 602287 h 602287"/>
                  <a:gd name="connsiteX49" fmla="*/ 422501 w 568260"/>
                  <a:gd name="connsiteY49" fmla="*/ 602287 h 602287"/>
                  <a:gd name="connsiteX50" fmla="*/ 422501 w 568260"/>
                  <a:gd name="connsiteY50" fmla="*/ 600444 h 602287"/>
                  <a:gd name="connsiteX51" fmla="*/ 405893 w 568260"/>
                  <a:gd name="connsiteY51" fmla="*/ 600444 h 602287"/>
                  <a:gd name="connsiteX52" fmla="*/ 405893 w 568260"/>
                  <a:gd name="connsiteY52" fmla="*/ 602287 h 602287"/>
                  <a:gd name="connsiteX53" fmla="*/ 392053 w 568260"/>
                  <a:gd name="connsiteY53" fmla="*/ 602287 h 602287"/>
                  <a:gd name="connsiteX54" fmla="*/ 393899 w 568260"/>
                  <a:gd name="connsiteY54" fmla="*/ 572804 h 602287"/>
                  <a:gd name="connsiteX55" fmla="*/ 377291 w 568260"/>
                  <a:gd name="connsiteY55" fmla="*/ 533186 h 602287"/>
                  <a:gd name="connsiteX56" fmla="*/ 360684 w 568260"/>
                  <a:gd name="connsiteY56" fmla="*/ 493568 h 602287"/>
                  <a:gd name="connsiteX57" fmla="*/ 356993 w 568260"/>
                  <a:gd name="connsiteY57" fmla="*/ 487119 h 602287"/>
                  <a:gd name="connsiteX58" fmla="*/ 361606 w 568260"/>
                  <a:gd name="connsiteY58" fmla="*/ 475141 h 602287"/>
                  <a:gd name="connsiteX59" fmla="*/ 369910 w 568260"/>
                  <a:gd name="connsiteY59" fmla="*/ 468692 h 602287"/>
                  <a:gd name="connsiteX60" fmla="*/ 111648 w 568260"/>
                  <a:gd name="connsiteY60" fmla="*/ 468692 h 602287"/>
                  <a:gd name="connsiteX61" fmla="*/ 200243 w 568260"/>
                  <a:gd name="connsiteY61" fmla="*/ 468692 h 602287"/>
                  <a:gd name="connsiteX62" fmla="*/ 210394 w 568260"/>
                  <a:gd name="connsiteY62" fmla="*/ 476063 h 602287"/>
                  <a:gd name="connsiteX63" fmla="*/ 217777 w 568260"/>
                  <a:gd name="connsiteY63" fmla="*/ 492647 h 602287"/>
                  <a:gd name="connsiteX64" fmla="*/ 203934 w 568260"/>
                  <a:gd name="connsiteY64" fmla="*/ 525815 h 602287"/>
                  <a:gd name="connsiteX65" fmla="*/ 200243 w 568260"/>
                  <a:gd name="connsiteY65" fmla="*/ 517523 h 602287"/>
                  <a:gd name="connsiteX66" fmla="*/ 200243 w 568260"/>
                  <a:gd name="connsiteY66" fmla="*/ 534107 h 602287"/>
                  <a:gd name="connsiteX67" fmla="*/ 186400 w 568260"/>
                  <a:gd name="connsiteY67" fmla="*/ 567276 h 602287"/>
                  <a:gd name="connsiteX68" fmla="*/ 189168 w 568260"/>
                  <a:gd name="connsiteY68" fmla="*/ 597680 h 602287"/>
                  <a:gd name="connsiteX69" fmla="*/ 192860 w 568260"/>
                  <a:gd name="connsiteY69" fmla="*/ 602287 h 602287"/>
                  <a:gd name="connsiteX70" fmla="*/ 164251 w 568260"/>
                  <a:gd name="connsiteY70" fmla="*/ 602287 h 602287"/>
                  <a:gd name="connsiteX71" fmla="*/ 164251 w 568260"/>
                  <a:gd name="connsiteY71" fmla="*/ 600444 h 602287"/>
                  <a:gd name="connsiteX72" fmla="*/ 147640 w 568260"/>
                  <a:gd name="connsiteY72" fmla="*/ 600444 h 602287"/>
                  <a:gd name="connsiteX73" fmla="*/ 147640 w 568260"/>
                  <a:gd name="connsiteY73" fmla="*/ 602287 h 602287"/>
                  <a:gd name="connsiteX74" fmla="*/ 111648 w 568260"/>
                  <a:gd name="connsiteY74" fmla="*/ 602287 h 602287"/>
                  <a:gd name="connsiteX75" fmla="*/ 111648 w 568260"/>
                  <a:gd name="connsiteY75" fmla="*/ 572804 h 602287"/>
                  <a:gd name="connsiteX76" fmla="*/ 111648 w 568260"/>
                  <a:gd name="connsiteY76" fmla="*/ 571883 h 602287"/>
                  <a:gd name="connsiteX77" fmla="*/ 111648 w 568260"/>
                  <a:gd name="connsiteY77" fmla="*/ 518445 h 602287"/>
                  <a:gd name="connsiteX78" fmla="*/ 93191 w 568260"/>
                  <a:gd name="connsiteY78" fmla="*/ 561748 h 602287"/>
                  <a:gd name="connsiteX79" fmla="*/ 71965 w 568260"/>
                  <a:gd name="connsiteY79" fmla="*/ 549770 h 602287"/>
                  <a:gd name="connsiteX80" fmla="*/ 103342 w 568260"/>
                  <a:gd name="connsiteY80" fmla="*/ 475141 h 602287"/>
                  <a:gd name="connsiteX81" fmla="*/ 111648 w 568260"/>
                  <a:gd name="connsiteY81" fmla="*/ 468692 h 602287"/>
                  <a:gd name="connsiteX82" fmla="*/ 286941 w 568260"/>
                  <a:gd name="connsiteY82" fmla="*/ 367497 h 602287"/>
                  <a:gd name="connsiteX83" fmla="*/ 346933 w 568260"/>
                  <a:gd name="connsiteY83" fmla="*/ 427785 h 602287"/>
                  <a:gd name="connsiteX84" fmla="*/ 286941 w 568260"/>
                  <a:gd name="connsiteY84" fmla="*/ 488073 h 602287"/>
                  <a:gd name="connsiteX85" fmla="*/ 226949 w 568260"/>
                  <a:gd name="connsiteY85" fmla="*/ 427785 h 602287"/>
                  <a:gd name="connsiteX86" fmla="*/ 286941 w 568260"/>
                  <a:gd name="connsiteY86" fmla="*/ 367497 h 602287"/>
                  <a:gd name="connsiteX87" fmla="*/ 412399 w 568260"/>
                  <a:gd name="connsiteY87" fmla="*/ 342642 h 602287"/>
                  <a:gd name="connsiteX88" fmla="*/ 472391 w 568260"/>
                  <a:gd name="connsiteY88" fmla="*/ 402486 h 602287"/>
                  <a:gd name="connsiteX89" fmla="*/ 412399 w 568260"/>
                  <a:gd name="connsiteY89" fmla="*/ 462330 h 602287"/>
                  <a:gd name="connsiteX90" fmla="*/ 352407 w 568260"/>
                  <a:gd name="connsiteY90" fmla="*/ 402486 h 602287"/>
                  <a:gd name="connsiteX91" fmla="*/ 412399 w 568260"/>
                  <a:gd name="connsiteY91" fmla="*/ 342642 h 602287"/>
                  <a:gd name="connsiteX92" fmla="*/ 154530 w 568260"/>
                  <a:gd name="connsiteY92" fmla="*/ 342642 h 602287"/>
                  <a:gd name="connsiteX93" fmla="*/ 214966 w 568260"/>
                  <a:gd name="connsiteY93" fmla="*/ 402486 h 602287"/>
                  <a:gd name="connsiteX94" fmla="*/ 154530 w 568260"/>
                  <a:gd name="connsiteY94" fmla="*/ 462330 h 602287"/>
                  <a:gd name="connsiteX95" fmla="*/ 94094 w 568260"/>
                  <a:gd name="connsiteY95" fmla="*/ 402486 h 602287"/>
                  <a:gd name="connsiteX96" fmla="*/ 154530 w 568260"/>
                  <a:gd name="connsiteY96" fmla="*/ 342642 h 602287"/>
                  <a:gd name="connsiteX97" fmla="*/ 413280 w 568260"/>
                  <a:gd name="connsiteY97" fmla="*/ 172220 h 602287"/>
                  <a:gd name="connsiteX98" fmla="*/ 296122 w 568260"/>
                  <a:gd name="connsiteY98" fmla="*/ 190639 h 602287"/>
                  <a:gd name="connsiteX99" fmla="*/ 296122 w 568260"/>
                  <a:gd name="connsiteY99" fmla="*/ 281814 h 602287"/>
                  <a:gd name="connsiteX100" fmla="*/ 428040 w 568260"/>
                  <a:gd name="connsiteY100" fmla="*/ 281814 h 602287"/>
                  <a:gd name="connsiteX101" fmla="*/ 413280 w 568260"/>
                  <a:gd name="connsiteY101" fmla="*/ 172220 h 602287"/>
                  <a:gd name="connsiteX102" fmla="*/ 153135 w 568260"/>
                  <a:gd name="connsiteY102" fmla="*/ 172220 h 602287"/>
                  <a:gd name="connsiteX103" fmla="*/ 139298 w 568260"/>
                  <a:gd name="connsiteY103" fmla="*/ 281814 h 602287"/>
                  <a:gd name="connsiteX104" fmla="*/ 272138 w 568260"/>
                  <a:gd name="connsiteY104" fmla="*/ 281814 h 602287"/>
                  <a:gd name="connsiteX105" fmla="*/ 272138 w 568260"/>
                  <a:gd name="connsiteY105" fmla="*/ 190639 h 602287"/>
                  <a:gd name="connsiteX106" fmla="*/ 153135 w 568260"/>
                  <a:gd name="connsiteY106" fmla="*/ 172220 h 602287"/>
                  <a:gd name="connsiteX107" fmla="*/ 497228 w 568260"/>
                  <a:gd name="connsiteY107" fmla="*/ 134460 h 602287"/>
                  <a:gd name="connsiteX108" fmla="*/ 435420 w 568260"/>
                  <a:gd name="connsiteY108" fmla="*/ 164852 h 602287"/>
                  <a:gd name="connsiteX109" fmla="*/ 451102 w 568260"/>
                  <a:gd name="connsiteY109" fmla="*/ 281814 h 602287"/>
                  <a:gd name="connsiteX110" fmla="*/ 545198 w 568260"/>
                  <a:gd name="connsiteY110" fmla="*/ 281814 h 602287"/>
                  <a:gd name="connsiteX111" fmla="*/ 497228 w 568260"/>
                  <a:gd name="connsiteY111" fmla="*/ 134460 h 602287"/>
                  <a:gd name="connsiteX112" fmla="*/ 71032 w 568260"/>
                  <a:gd name="connsiteY112" fmla="*/ 134460 h 602287"/>
                  <a:gd name="connsiteX113" fmla="*/ 23062 w 568260"/>
                  <a:gd name="connsiteY113" fmla="*/ 281814 h 602287"/>
                  <a:gd name="connsiteX114" fmla="*/ 116235 w 568260"/>
                  <a:gd name="connsiteY114" fmla="*/ 281814 h 602287"/>
                  <a:gd name="connsiteX115" fmla="*/ 131918 w 568260"/>
                  <a:gd name="connsiteY115" fmla="*/ 164852 h 602287"/>
                  <a:gd name="connsiteX116" fmla="*/ 71032 w 568260"/>
                  <a:gd name="connsiteY116" fmla="*/ 134460 h 602287"/>
                  <a:gd name="connsiteX117" fmla="*/ 201105 w 568260"/>
                  <a:gd name="connsiteY117" fmla="*/ 36838 h 602287"/>
                  <a:gd name="connsiteX118" fmla="*/ 84870 w 568260"/>
                  <a:gd name="connsiteY118" fmla="*/ 116041 h 602287"/>
                  <a:gd name="connsiteX119" fmla="*/ 138375 w 568260"/>
                  <a:gd name="connsiteY119" fmla="*/ 142749 h 602287"/>
                  <a:gd name="connsiteX120" fmla="*/ 201105 w 568260"/>
                  <a:gd name="connsiteY120" fmla="*/ 36838 h 602287"/>
                  <a:gd name="connsiteX121" fmla="*/ 365310 w 568260"/>
                  <a:gd name="connsiteY121" fmla="*/ 35918 h 602287"/>
                  <a:gd name="connsiteX122" fmla="*/ 428962 w 568260"/>
                  <a:gd name="connsiteY122" fmla="*/ 143670 h 602287"/>
                  <a:gd name="connsiteX123" fmla="*/ 483390 w 568260"/>
                  <a:gd name="connsiteY123" fmla="*/ 116041 h 602287"/>
                  <a:gd name="connsiteX124" fmla="*/ 365310 w 568260"/>
                  <a:gd name="connsiteY124" fmla="*/ 35918 h 602287"/>
                  <a:gd name="connsiteX125" fmla="*/ 296122 w 568260"/>
                  <a:gd name="connsiteY125" fmla="*/ 23945 h 602287"/>
                  <a:gd name="connsiteX126" fmla="*/ 296122 w 568260"/>
                  <a:gd name="connsiteY126" fmla="*/ 167615 h 602287"/>
                  <a:gd name="connsiteX127" fmla="*/ 406822 w 568260"/>
                  <a:gd name="connsiteY127" fmla="*/ 151038 h 602287"/>
                  <a:gd name="connsiteX128" fmla="*/ 296122 w 568260"/>
                  <a:gd name="connsiteY128" fmla="*/ 23945 h 602287"/>
                  <a:gd name="connsiteX129" fmla="*/ 272138 w 568260"/>
                  <a:gd name="connsiteY129" fmla="*/ 23945 h 602287"/>
                  <a:gd name="connsiteX130" fmla="*/ 159592 w 568260"/>
                  <a:gd name="connsiteY130" fmla="*/ 150117 h 602287"/>
                  <a:gd name="connsiteX131" fmla="*/ 272138 w 568260"/>
                  <a:gd name="connsiteY131" fmla="*/ 167615 h 602287"/>
                  <a:gd name="connsiteX132" fmla="*/ 282285 w 568260"/>
                  <a:gd name="connsiteY132" fmla="*/ 0 h 602287"/>
                  <a:gd name="connsiteX133" fmla="*/ 283208 w 568260"/>
                  <a:gd name="connsiteY133" fmla="*/ 0 h 602287"/>
                  <a:gd name="connsiteX134" fmla="*/ 284130 w 568260"/>
                  <a:gd name="connsiteY134" fmla="*/ 0 h 602287"/>
                  <a:gd name="connsiteX135" fmla="*/ 502762 w 568260"/>
                  <a:gd name="connsiteY135" fmla="*/ 102227 h 602287"/>
                  <a:gd name="connsiteX136" fmla="*/ 516600 w 568260"/>
                  <a:gd name="connsiteY136" fmla="*/ 120646 h 602287"/>
                  <a:gd name="connsiteX137" fmla="*/ 568260 w 568260"/>
                  <a:gd name="connsiteY137" fmla="*/ 283656 h 602287"/>
                  <a:gd name="connsiteX138" fmla="*/ 516600 w 568260"/>
                  <a:gd name="connsiteY138" fmla="*/ 447587 h 602287"/>
                  <a:gd name="connsiteX139" fmla="*/ 502762 w 568260"/>
                  <a:gd name="connsiteY139" fmla="*/ 465086 h 602287"/>
                  <a:gd name="connsiteX140" fmla="*/ 493538 w 568260"/>
                  <a:gd name="connsiteY140" fmla="*/ 476137 h 602287"/>
                  <a:gd name="connsiteX141" fmla="*/ 488925 w 568260"/>
                  <a:gd name="connsiteY141" fmla="*/ 466928 h 602287"/>
                  <a:gd name="connsiteX142" fmla="*/ 481545 w 568260"/>
                  <a:gd name="connsiteY142" fmla="*/ 454955 h 602287"/>
                  <a:gd name="connsiteX143" fmla="*/ 481545 w 568260"/>
                  <a:gd name="connsiteY143" fmla="*/ 454034 h 602287"/>
                  <a:gd name="connsiteX144" fmla="*/ 483390 w 568260"/>
                  <a:gd name="connsiteY144" fmla="*/ 451271 h 602287"/>
                  <a:gd name="connsiteX145" fmla="*/ 497228 w 568260"/>
                  <a:gd name="connsiteY145" fmla="*/ 433773 h 602287"/>
                  <a:gd name="connsiteX146" fmla="*/ 544275 w 568260"/>
                  <a:gd name="connsiteY146" fmla="*/ 304838 h 602287"/>
                  <a:gd name="connsiteX147" fmla="*/ 450180 w 568260"/>
                  <a:gd name="connsiteY147" fmla="*/ 304838 h 602287"/>
                  <a:gd name="connsiteX148" fmla="*/ 450180 w 568260"/>
                  <a:gd name="connsiteY148" fmla="*/ 305759 h 602287"/>
                  <a:gd name="connsiteX149" fmla="*/ 448335 w 568260"/>
                  <a:gd name="connsiteY149" fmla="*/ 328783 h 602287"/>
                  <a:gd name="connsiteX150" fmla="*/ 426195 w 568260"/>
                  <a:gd name="connsiteY150" fmla="*/ 321416 h 602287"/>
                  <a:gd name="connsiteX151" fmla="*/ 427118 w 568260"/>
                  <a:gd name="connsiteY151" fmla="*/ 305759 h 602287"/>
                  <a:gd name="connsiteX152" fmla="*/ 427118 w 568260"/>
                  <a:gd name="connsiteY152" fmla="*/ 304838 h 602287"/>
                  <a:gd name="connsiteX153" fmla="*/ 296122 w 568260"/>
                  <a:gd name="connsiteY153" fmla="*/ 304838 h 602287"/>
                  <a:gd name="connsiteX154" fmla="*/ 296122 w 568260"/>
                  <a:gd name="connsiteY154" fmla="*/ 305759 h 602287"/>
                  <a:gd name="connsiteX155" fmla="*/ 296122 w 568260"/>
                  <a:gd name="connsiteY155" fmla="*/ 346282 h 602287"/>
                  <a:gd name="connsiteX156" fmla="*/ 286898 w 568260"/>
                  <a:gd name="connsiteY156" fmla="*/ 345361 h 602287"/>
                  <a:gd name="connsiteX157" fmla="*/ 272138 w 568260"/>
                  <a:gd name="connsiteY157" fmla="*/ 346282 h 602287"/>
                  <a:gd name="connsiteX158" fmla="*/ 272138 w 568260"/>
                  <a:gd name="connsiteY158" fmla="*/ 305759 h 602287"/>
                  <a:gd name="connsiteX159" fmla="*/ 272138 w 568260"/>
                  <a:gd name="connsiteY159" fmla="*/ 304838 h 602287"/>
                  <a:gd name="connsiteX160" fmla="*/ 140220 w 568260"/>
                  <a:gd name="connsiteY160" fmla="*/ 304838 h 602287"/>
                  <a:gd name="connsiteX161" fmla="*/ 140220 w 568260"/>
                  <a:gd name="connsiteY161" fmla="*/ 305759 h 602287"/>
                  <a:gd name="connsiteX162" fmla="*/ 141142 w 568260"/>
                  <a:gd name="connsiteY162" fmla="*/ 321416 h 602287"/>
                  <a:gd name="connsiteX163" fmla="*/ 118080 w 568260"/>
                  <a:gd name="connsiteY163" fmla="*/ 328783 h 602287"/>
                  <a:gd name="connsiteX164" fmla="*/ 116235 w 568260"/>
                  <a:gd name="connsiteY164" fmla="*/ 305759 h 602287"/>
                  <a:gd name="connsiteX165" fmla="*/ 116235 w 568260"/>
                  <a:gd name="connsiteY165" fmla="*/ 304838 h 602287"/>
                  <a:gd name="connsiteX166" fmla="*/ 23985 w 568260"/>
                  <a:gd name="connsiteY166" fmla="*/ 304838 h 602287"/>
                  <a:gd name="connsiteX167" fmla="*/ 71032 w 568260"/>
                  <a:gd name="connsiteY167" fmla="*/ 433773 h 602287"/>
                  <a:gd name="connsiteX168" fmla="*/ 84870 w 568260"/>
                  <a:gd name="connsiteY168" fmla="*/ 451271 h 602287"/>
                  <a:gd name="connsiteX169" fmla="*/ 88560 w 568260"/>
                  <a:gd name="connsiteY169" fmla="*/ 455876 h 602287"/>
                  <a:gd name="connsiteX170" fmla="*/ 88560 w 568260"/>
                  <a:gd name="connsiteY170" fmla="*/ 456797 h 602287"/>
                  <a:gd name="connsiteX171" fmla="*/ 83025 w 568260"/>
                  <a:gd name="connsiteY171" fmla="*/ 466928 h 602287"/>
                  <a:gd name="connsiteX172" fmla="*/ 77490 w 568260"/>
                  <a:gd name="connsiteY172" fmla="*/ 478900 h 602287"/>
                  <a:gd name="connsiteX173" fmla="*/ 65498 w 568260"/>
                  <a:gd name="connsiteY173" fmla="*/ 465086 h 602287"/>
                  <a:gd name="connsiteX174" fmla="*/ 51660 w 568260"/>
                  <a:gd name="connsiteY174" fmla="*/ 447587 h 602287"/>
                  <a:gd name="connsiteX175" fmla="*/ 0 w 568260"/>
                  <a:gd name="connsiteY175" fmla="*/ 283656 h 602287"/>
                  <a:gd name="connsiteX176" fmla="*/ 51660 w 568260"/>
                  <a:gd name="connsiteY176" fmla="*/ 120646 h 602287"/>
                  <a:gd name="connsiteX177" fmla="*/ 65498 w 568260"/>
                  <a:gd name="connsiteY177" fmla="*/ 102227 h 602287"/>
                  <a:gd name="connsiteX178" fmla="*/ 282285 w 568260"/>
                  <a:gd name="connsiteY178" fmla="*/ 0 h 602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568260" h="602287">
                    <a:moveTo>
                      <a:pt x="243610" y="494469"/>
                    </a:moveTo>
                    <a:lnTo>
                      <a:pt x="333117" y="494469"/>
                    </a:lnTo>
                    <a:cubicBezTo>
                      <a:pt x="336808" y="493547"/>
                      <a:pt x="340499" y="495390"/>
                      <a:pt x="343267" y="500919"/>
                    </a:cubicBezTo>
                    <a:cubicBezTo>
                      <a:pt x="344190" y="503684"/>
                      <a:pt x="346035" y="507370"/>
                      <a:pt x="346958" y="510134"/>
                    </a:cubicBezTo>
                    <a:cubicBezTo>
                      <a:pt x="350649" y="518428"/>
                      <a:pt x="353417" y="526722"/>
                      <a:pt x="357108" y="535016"/>
                    </a:cubicBezTo>
                    <a:cubicBezTo>
                      <a:pt x="361722" y="544231"/>
                      <a:pt x="365413" y="554368"/>
                      <a:pt x="370027" y="563583"/>
                    </a:cubicBezTo>
                    <a:cubicBezTo>
                      <a:pt x="371872" y="569112"/>
                      <a:pt x="374641" y="574641"/>
                      <a:pt x="376486" y="580170"/>
                    </a:cubicBezTo>
                    <a:cubicBezTo>
                      <a:pt x="377409" y="581092"/>
                      <a:pt x="377409" y="582013"/>
                      <a:pt x="377409" y="582935"/>
                    </a:cubicBezTo>
                    <a:cubicBezTo>
                      <a:pt x="377409" y="582935"/>
                      <a:pt x="377409" y="582935"/>
                      <a:pt x="377409" y="583856"/>
                    </a:cubicBezTo>
                    <a:cubicBezTo>
                      <a:pt x="377409" y="584778"/>
                      <a:pt x="377409" y="584778"/>
                      <a:pt x="377409" y="585700"/>
                    </a:cubicBezTo>
                    <a:cubicBezTo>
                      <a:pt x="377409" y="585700"/>
                      <a:pt x="377409" y="586621"/>
                      <a:pt x="377409" y="586621"/>
                    </a:cubicBezTo>
                    <a:cubicBezTo>
                      <a:pt x="377409" y="587543"/>
                      <a:pt x="377409" y="587543"/>
                      <a:pt x="377409" y="588464"/>
                    </a:cubicBezTo>
                    <a:cubicBezTo>
                      <a:pt x="377409" y="588464"/>
                      <a:pt x="377409" y="588464"/>
                      <a:pt x="377409" y="589386"/>
                    </a:cubicBezTo>
                    <a:cubicBezTo>
                      <a:pt x="377409" y="589386"/>
                      <a:pt x="376486" y="590307"/>
                      <a:pt x="376486" y="590307"/>
                    </a:cubicBezTo>
                    <a:cubicBezTo>
                      <a:pt x="376486" y="591229"/>
                      <a:pt x="376486" y="591229"/>
                      <a:pt x="376486" y="591229"/>
                    </a:cubicBezTo>
                    <a:cubicBezTo>
                      <a:pt x="375564" y="592150"/>
                      <a:pt x="375564" y="592150"/>
                      <a:pt x="375564" y="593072"/>
                    </a:cubicBezTo>
                    <a:cubicBezTo>
                      <a:pt x="375564" y="593072"/>
                      <a:pt x="374641" y="593072"/>
                      <a:pt x="374641" y="593993"/>
                    </a:cubicBezTo>
                    <a:cubicBezTo>
                      <a:pt x="374641" y="593993"/>
                      <a:pt x="374641" y="594915"/>
                      <a:pt x="373718" y="594915"/>
                    </a:cubicBezTo>
                    <a:cubicBezTo>
                      <a:pt x="373718" y="594915"/>
                      <a:pt x="373718" y="594915"/>
                      <a:pt x="373718" y="595836"/>
                    </a:cubicBezTo>
                    <a:cubicBezTo>
                      <a:pt x="372795" y="595836"/>
                      <a:pt x="372795" y="596758"/>
                      <a:pt x="371872" y="596758"/>
                    </a:cubicBezTo>
                    <a:cubicBezTo>
                      <a:pt x="370950" y="597679"/>
                      <a:pt x="370027" y="597679"/>
                      <a:pt x="370027" y="597679"/>
                    </a:cubicBezTo>
                    <a:cubicBezTo>
                      <a:pt x="364490" y="601365"/>
                      <a:pt x="357108" y="600444"/>
                      <a:pt x="354340" y="593072"/>
                    </a:cubicBezTo>
                    <a:cubicBezTo>
                      <a:pt x="348804" y="580170"/>
                      <a:pt x="343267" y="567269"/>
                      <a:pt x="337731" y="554368"/>
                    </a:cubicBezTo>
                    <a:cubicBezTo>
                      <a:pt x="335885" y="550682"/>
                      <a:pt x="334962" y="546995"/>
                      <a:pt x="333117" y="543309"/>
                    </a:cubicBezTo>
                    <a:lnTo>
                      <a:pt x="333117" y="563583"/>
                    </a:lnTo>
                    <a:lnTo>
                      <a:pt x="333117" y="597679"/>
                    </a:lnTo>
                    <a:lnTo>
                      <a:pt x="333117" y="602287"/>
                    </a:lnTo>
                    <a:lnTo>
                      <a:pt x="243610" y="602287"/>
                    </a:lnTo>
                    <a:lnTo>
                      <a:pt x="243610" y="597679"/>
                    </a:lnTo>
                    <a:lnTo>
                      <a:pt x="243610" y="567269"/>
                    </a:lnTo>
                    <a:lnTo>
                      <a:pt x="243610" y="553446"/>
                    </a:lnTo>
                    <a:lnTo>
                      <a:pt x="243610" y="543309"/>
                    </a:lnTo>
                    <a:cubicBezTo>
                      <a:pt x="241764" y="547917"/>
                      <a:pt x="239919" y="551603"/>
                      <a:pt x="238073" y="556211"/>
                    </a:cubicBezTo>
                    <a:cubicBezTo>
                      <a:pt x="236228" y="561740"/>
                      <a:pt x="233460" y="568191"/>
                      <a:pt x="230691" y="574641"/>
                    </a:cubicBezTo>
                    <a:cubicBezTo>
                      <a:pt x="228846" y="578327"/>
                      <a:pt x="227000" y="582935"/>
                      <a:pt x="225155" y="587543"/>
                    </a:cubicBezTo>
                    <a:cubicBezTo>
                      <a:pt x="218696" y="601365"/>
                      <a:pt x="198395" y="589386"/>
                      <a:pt x="203932" y="574641"/>
                    </a:cubicBezTo>
                    <a:cubicBezTo>
                      <a:pt x="207623" y="567269"/>
                      <a:pt x="211314" y="558975"/>
                      <a:pt x="215005" y="550682"/>
                    </a:cubicBezTo>
                    <a:cubicBezTo>
                      <a:pt x="216850" y="544231"/>
                      <a:pt x="219618" y="537780"/>
                      <a:pt x="222387" y="532251"/>
                    </a:cubicBezTo>
                    <a:cubicBezTo>
                      <a:pt x="227000" y="521193"/>
                      <a:pt x="231614" y="511056"/>
                      <a:pt x="236228" y="500919"/>
                    </a:cubicBezTo>
                    <a:cubicBezTo>
                      <a:pt x="237151" y="496312"/>
                      <a:pt x="240842" y="494469"/>
                      <a:pt x="243610" y="494469"/>
                    </a:cubicBezTo>
                    <a:close/>
                    <a:moveTo>
                      <a:pt x="369910" y="468692"/>
                    </a:moveTo>
                    <a:lnTo>
                      <a:pt x="458484" y="468692"/>
                    </a:lnTo>
                    <a:cubicBezTo>
                      <a:pt x="463097" y="468692"/>
                      <a:pt x="466787" y="470535"/>
                      <a:pt x="468633" y="476063"/>
                    </a:cubicBezTo>
                    <a:cubicBezTo>
                      <a:pt x="479704" y="501860"/>
                      <a:pt x="490776" y="528579"/>
                      <a:pt x="502770" y="554377"/>
                    </a:cubicBezTo>
                    <a:cubicBezTo>
                      <a:pt x="509229" y="570040"/>
                      <a:pt x="487086" y="582939"/>
                      <a:pt x="480627" y="567276"/>
                    </a:cubicBezTo>
                    <a:cubicBezTo>
                      <a:pt x="473246" y="550692"/>
                      <a:pt x="465865" y="534107"/>
                      <a:pt x="458484" y="517523"/>
                    </a:cubicBezTo>
                    <a:lnTo>
                      <a:pt x="458484" y="572804"/>
                    </a:lnTo>
                    <a:lnTo>
                      <a:pt x="458484" y="600444"/>
                    </a:lnTo>
                    <a:lnTo>
                      <a:pt x="458484" y="602287"/>
                    </a:lnTo>
                    <a:lnTo>
                      <a:pt x="422501" y="602287"/>
                    </a:lnTo>
                    <a:lnTo>
                      <a:pt x="422501" y="600444"/>
                    </a:lnTo>
                    <a:lnTo>
                      <a:pt x="405893" y="600444"/>
                    </a:lnTo>
                    <a:lnTo>
                      <a:pt x="405893" y="602287"/>
                    </a:lnTo>
                    <a:lnTo>
                      <a:pt x="392053" y="602287"/>
                    </a:lnTo>
                    <a:cubicBezTo>
                      <a:pt x="397589" y="593074"/>
                      <a:pt x="398512" y="582017"/>
                      <a:pt x="393899" y="572804"/>
                    </a:cubicBezTo>
                    <a:lnTo>
                      <a:pt x="377291" y="533186"/>
                    </a:lnTo>
                    <a:lnTo>
                      <a:pt x="360684" y="493568"/>
                    </a:lnTo>
                    <a:cubicBezTo>
                      <a:pt x="359761" y="490804"/>
                      <a:pt x="357916" y="488962"/>
                      <a:pt x="356993" y="487119"/>
                    </a:cubicBezTo>
                    <a:cubicBezTo>
                      <a:pt x="358838" y="482512"/>
                      <a:pt x="359761" y="478827"/>
                      <a:pt x="361606" y="475141"/>
                    </a:cubicBezTo>
                    <a:cubicBezTo>
                      <a:pt x="363451" y="471456"/>
                      <a:pt x="366219" y="469613"/>
                      <a:pt x="369910" y="468692"/>
                    </a:cubicBezTo>
                    <a:close/>
                    <a:moveTo>
                      <a:pt x="111648" y="468692"/>
                    </a:moveTo>
                    <a:lnTo>
                      <a:pt x="200243" y="468692"/>
                    </a:lnTo>
                    <a:cubicBezTo>
                      <a:pt x="204857" y="468692"/>
                      <a:pt x="208548" y="470535"/>
                      <a:pt x="210394" y="476063"/>
                    </a:cubicBezTo>
                    <a:cubicBezTo>
                      <a:pt x="213163" y="481591"/>
                      <a:pt x="215931" y="487119"/>
                      <a:pt x="217777" y="492647"/>
                    </a:cubicBezTo>
                    <a:lnTo>
                      <a:pt x="203934" y="525815"/>
                    </a:lnTo>
                    <a:cubicBezTo>
                      <a:pt x="203011" y="523051"/>
                      <a:pt x="202088" y="520287"/>
                      <a:pt x="200243" y="517523"/>
                    </a:cubicBezTo>
                    <a:lnTo>
                      <a:pt x="200243" y="534107"/>
                    </a:lnTo>
                    <a:lnTo>
                      <a:pt x="186400" y="567276"/>
                    </a:lnTo>
                    <a:cubicBezTo>
                      <a:pt x="181785" y="577411"/>
                      <a:pt x="182708" y="588467"/>
                      <a:pt x="189168" y="597680"/>
                    </a:cubicBezTo>
                    <a:cubicBezTo>
                      <a:pt x="190091" y="599523"/>
                      <a:pt x="191937" y="601366"/>
                      <a:pt x="192860" y="602287"/>
                    </a:cubicBezTo>
                    <a:lnTo>
                      <a:pt x="164251" y="602287"/>
                    </a:lnTo>
                    <a:lnTo>
                      <a:pt x="164251" y="600444"/>
                    </a:lnTo>
                    <a:lnTo>
                      <a:pt x="147640" y="600444"/>
                    </a:lnTo>
                    <a:lnTo>
                      <a:pt x="147640" y="602287"/>
                    </a:lnTo>
                    <a:lnTo>
                      <a:pt x="111648" y="602287"/>
                    </a:lnTo>
                    <a:lnTo>
                      <a:pt x="111648" y="572804"/>
                    </a:lnTo>
                    <a:cubicBezTo>
                      <a:pt x="111648" y="572804"/>
                      <a:pt x="111648" y="572804"/>
                      <a:pt x="111648" y="571883"/>
                    </a:cubicBezTo>
                    <a:lnTo>
                      <a:pt x="111648" y="518445"/>
                    </a:lnTo>
                    <a:cubicBezTo>
                      <a:pt x="105188" y="533186"/>
                      <a:pt x="98728" y="547006"/>
                      <a:pt x="93191" y="561748"/>
                    </a:cubicBezTo>
                    <a:cubicBezTo>
                      <a:pt x="86731" y="576489"/>
                      <a:pt x="66428" y="563591"/>
                      <a:pt x="71965" y="549770"/>
                    </a:cubicBezTo>
                    <a:cubicBezTo>
                      <a:pt x="83039" y="524894"/>
                      <a:pt x="93191" y="500018"/>
                      <a:pt x="103342" y="475141"/>
                    </a:cubicBezTo>
                    <a:cubicBezTo>
                      <a:pt x="105188" y="471456"/>
                      <a:pt x="107957" y="469613"/>
                      <a:pt x="111648" y="468692"/>
                    </a:cubicBezTo>
                    <a:close/>
                    <a:moveTo>
                      <a:pt x="286941" y="367497"/>
                    </a:moveTo>
                    <a:cubicBezTo>
                      <a:pt x="320074" y="367497"/>
                      <a:pt x="346933" y="394489"/>
                      <a:pt x="346933" y="427785"/>
                    </a:cubicBezTo>
                    <a:cubicBezTo>
                      <a:pt x="346933" y="461081"/>
                      <a:pt x="320074" y="488073"/>
                      <a:pt x="286941" y="488073"/>
                    </a:cubicBezTo>
                    <a:cubicBezTo>
                      <a:pt x="253808" y="488073"/>
                      <a:pt x="226949" y="461081"/>
                      <a:pt x="226949" y="427785"/>
                    </a:cubicBezTo>
                    <a:cubicBezTo>
                      <a:pt x="226949" y="394489"/>
                      <a:pt x="253808" y="367497"/>
                      <a:pt x="286941" y="367497"/>
                    </a:cubicBezTo>
                    <a:close/>
                    <a:moveTo>
                      <a:pt x="412399" y="342642"/>
                    </a:moveTo>
                    <a:cubicBezTo>
                      <a:pt x="445532" y="342642"/>
                      <a:pt x="472391" y="369435"/>
                      <a:pt x="472391" y="402486"/>
                    </a:cubicBezTo>
                    <a:cubicBezTo>
                      <a:pt x="472391" y="435537"/>
                      <a:pt x="445532" y="462330"/>
                      <a:pt x="412399" y="462330"/>
                    </a:cubicBezTo>
                    <a:cubicBezTo>
                      <a:pt x="379266" y="462330"/>
                      <a:pt x="352407" y="435537"/>
                      <a:pt x="352407" y="402486"/>
                    </a:cubicBezTo>
                    <a:cubicBezTo>
                      <a:pt x="352407" y="369435"/>
                      <a:pt x="379266" y="342642"/>
                      <a:pt x="412399" y="342642"/>
                    </a:cubicBezTo>
                    <a:close/>
                    <a:moveTo>
                      <a:pt x="154530" y="342642"/>
                    </a:moveTo>
                    <a:cubicBezTo>
                      <a:pt x="187908" y="342642"/>
                      <a:pt x="214966" y="369435"/>
                      <a:pt x="214966" y="402486"/>
                    </a:cubicBezTo>
                    <a:cubicBezTo>
                      <a:pt x="214966" y="435537"/>
                      <a:pt x="187908" y="462330"/>
                      <a:pt x="154530" y="462330"/>
                    </a:cubicBezTo>
                    <a:cubicBezTo>
                      <a:pt x="121152" y="462330"/>
                      <a:pt x="94094" y="435537"/>
                      <a:pt x="94094" y="402486"/>
                    </a:cubicBezTo>
                    <a:cubicBezTo>
                      <a:pt x="94094" y="369435"/>
                      <a:pt x="121152" y="342642"/>
                      <a:pt x="154530" y="342642"/>
                    </a:cubicBezTo>
                    <a:close/>
                    <a:moveTo>
                      <a:pt x="413280" y="172220"/>
                    </a:moveTo>
                    <a:cubicBezTo>
                      <a:pt x="378225" y="183271"/>
                      <a:pt x="338558" y="189718"/>
                      <a:pt x="296122" y="190639"/>
                    </a:cubicBezTo>
                    <a:lnTo>
                      <a:pt x="296122" y="281814"/>
                    </a:lnTo>
                    <a:lnTo>
                      <a:pt x="428040" y="281814"/>
                    </a:lnTo>
                    <a:cubicBezTo>
                      <a:pt x="427118" y="242213"/>
                      <a:pt x="422505" y="205374"/>
                      <a:pt x="413280" y="172220"/>
                    </a:cubicBezTo>
                    <a:close/>
                    <a:moveTo>
                      <a:pt x="153135" y="172220"/>
                    </a:moveTo>
                    <a:cubicBezTo>
                      <a:pt x="144832" y="205374"/>
                      <a:pt x="139298" y="242213"/>
                      <a:pt x="139298" y="281814"/>
                    </a:cubicBezTo>
                    <a:lnTo>
                      <a:pt x="272138" y="281814"/>
                    </a:lnTo>
                    <a:lnTo>
                      <a:pt x="272138" y="190639"/>
                    </a:lnTo>
                    <a:cubicBezTo>
                      <a:pt x="229702" y="189718"/>
                      <a:pt x="189112" y="183271"/>
                      <a:pt x="153135" y="172220"/>
                    </a:cubicBezTo>
                    <a:close/>
                    <a:moveTo>
                      <a:pt x="497228" y="134460"/>
                    </a:moveTo>
                    <a:cubicBezTo>
                      <a:pt x="479700" y="146433"/>
                      <a:pt x="458482" y="156563"/>
                      <a:pt x="435420" y="164852"/>
                    </a:cubicBezTo>
                    <a:cubicBezTo>
                      <a:pt x="445568" y="200770"/>
                      <a:pt x="451102" y="240371"/>
                      <a:pt x="451102" y="281814"/>
                    </a:cubicBezTo>
                    <a:lnTo>
                      <a:pt x="545198" y="281814"/>
                    </a:lnTo>
                    <a:cubicBezTo>
                      <a:pt x="544275" y="226557"/>
                      <a:pt x="526748" y="175904"/>
                      <a:pt x="497228" y="134460"/>
                    </a:cubicBezTo>
                    <a:close/>
                    <a:moveTo>
                      <a:pt x="71032" y="134460"/>
                    </a:moveTo>
                    <a:cubicBezTo>
                      <a:pt x="41512" y="175904"/>
                      <a:pt x="23985" y="226557"/>
                      <a:pt x="23062" y="281814"/>
                    </a:cubicBezTo>
                    <a:lnTo>
                      <a:pt x="116235" y="281814"/>
                    </a:lnTo>
                    <a:cubicBezTo>
                      <a:pt x="116235" y="239450"/>
                      <a:pt x="121770" y="200770"/>
                      <a:pt x="131918" y="164852"/>
                    </a:cubicBezTo>
                    <a:cubicBezTo>
                      <a:pt x="108855" y="156563"/>
                      <a:pt x="88560" y="146433"/>
                      <a:pt x="71032" y="134460"/>
                    </a:cubicBezTo>
                    <a:close/>
                    <a:moveTo>
                      <a:pt x="201105" y="36838"/>
                    </a:moveTo>
                    <a:cubicBezTo>
                      <a:pt x="154980" y="52495"/>
                      <a:pt x="115312" y="80124"/>
                      <a:pt x="84870" y="116041"/>
                    </a:cubicBezTo>
                    <a:cubicBezTo>
                      <a:pt x="99630" y="126172"/>
                      <a:pt x="118080" y="135381"/>
                      <a:pt x="138375" y="142749"/>
                    </a:cubicBezTo>
                    <a:cubicBezTo>
                      <a:pt x="153135" y="98543"/>
                      <a:pt x="175275" y="61704"/>
                      <a:pt x="201105" y="36838"/>
                    </a:cubicBezTo>
                    <a:close/>
                    <a:moveTo>
                      <a:pt x="365310" y="35918"/>
                    </a:moveTo>
                    <a:cubicBezTo>
                      <a:pt x="392062" y="61704"/>
                      <a:pt x="414202" y="98543"/>
                      <a:pt x="428962" y="143670"/>
                    </a:cubicBezTo>
                    <a:cubicBezTo>
                      <a:pt x="449258" y="136302"/>
                      <a:pt x="467708" y="127093"/>
                      <a:pt x="483390" y="116041"/>
                    </a:cubicBezTo>
                    <a:cubicBezTo>
                      <a:pt x="452948" y="80124"/>
                      <a:pt x="412358" y="51574"/>
                      <a:pt x="365310" y="35918"/>
                    </a:cubicBezTo>
                    <a:close/>
                    <a:moveTo>
                      <a:pt x="296122" y="23945"/>
                    </a:moveTo>
                    <a:lnTo>
                      <a:pt x="296122" y="167615"/>
                    </a:lnTo>
                    <a:cubicBezTo>
                      <a:pt x="335790" y="166694"/>
                      <a:pt x="373612" y="160247"/>
                      <a:pt x="406822" y="151038"/>
                    </a:cubicBezTo>
                    <a:cubicBezTo>
                      <a:pt x="383760" y="81045"/>
                      <a:pt x="343170" y="31313"/>
                      <a:pt x="296122" y="23945"/>
                    </a:cubicBezTo>
                    <a:close/>
                    <a:moveTo>
                      <a:pt x="272138" y="23945"/>
                    </a:moveTo>
                    <a:cubicBezTo>
                      <a:pt x="224168" y="30392"/>
                      <a:pt x="183578" y="80124"/>
                      <a:pt x="159592" y="150117"/>
                    </a:cubicBezTo>
                    <a:cubicBezTo>
                      <a:pt x="193725" y="160247"/>
                      <a:pt x="231548" y="166694"/>
                      <a:pt x="272138" y="167615"/>
                    </a:cubicBezTo>
                    <a:close/>
                    <a:moveTo>
                      <a:pt x="282285" y="0"/>
                    </a:moveTo>
                    <a:cubicBezTo>
                      <a:pt x="283208" y="0"/>
                      <a:pt x="283208" y="0"/>
                      <a:pt x="283208" y="0"/>
                    </a:cubicBezTo>
                    <a:lnTo>
                      <a:pt x="284130" y="0"/>
                    </a:lnTo>
                    <a:cubicBezTo>
                      <a:pt x="371768" y="0"/>
                      <a:pt x="450180" y="39601"/>
                      <a:pt x="502762" y="102227"/>
                    </a:cubicBezTo>
                    <a:cubicBezTo>
                      <a:pt x="507375" y="107752"/>
                      <a:pt x="511988" y="114199"/>
                      <a:pt x="516600" y="120646"/>
                    </a:cubicBezTo>
                    <a:cubicBezTo>
                      <a:pt x="548888" y="166694"/>
                      <a:pt x="568260" y="222873"/>
                      <a:pt x="568260" y="283656"/>
                    </a:cubicBezTo>
                    <a:cubicBezTo>
                      <a:pt x="568260" y="344440"/>
                      <a:pt x="548888" y="401539"/>
                      <a:pt x="516600" y="447587"/>
                    </a:cubicBezTo>
                    <a:cubicBezTo>
                      <a:pt x="511988" y="454034"/>
                      <a:pt x="507375" y="459560"/>
                      <a:pt x="502762" y="465086"/>
                    </a:cubicBezTo>
                    <a:cubicBezTo>
                      <a:pt x="499995" y="468769"/>
                      <a:pt x="496305" y="472453"/>
                      <a:pt x="493538" y="476137"/>
                    </a:cubicBezTo>
                    <a:lnTo>
                      <a:pt x="488925" y="466928"/>
                    </a:lnTo>
                    <a:cubicBezTo>
                      <a:pt x="487080" y="462323"/>
                      <a:pt x="484312" y="458639"/>
                      <a:pt x="481545" y="454955"/>
                    </a:cubicBezTo>
                    <a:lnTo>
                      <a:pt x="481545" y="454034"/>
                    </a:lnTo>
                    <a:cubicBezTo>
                      <a:pt x="481545" y="453113"/>
                      <a:pt x="482468" y="452192"/>
                      <a:pt x="483390" y="451271"/>
                    </a:cubicBezTo>
                    <a:cubicBezTo>
                      <a:pt x="482468" y="451271"/>
                      <a:pt x="488002" y="444824"/>
                      <a:pt x="497228" y="433773"/>
                    </a:cubicBezTo>
                    <a:cubicBezTo>
                      <a:pt x="506452" y="422721"/>
                      <a:pt x="540585" y="352728"/>
                      <a:pt x="544275" y="304838"/>
                    </a:cubicBezTo>
                    <a:lnTo>
                      <a:pt x="450180" y="304838"/>
                    </a:lnTo>
                    <a:cubicBezTo>
                      <a:pt x="450180" y="304838"/>
                      <a:pt x="450180" y="304838"/>
                      <a:pt x="450180" y="305759"/>
                    </a:cubicBezTo>
                    <a:cubicBezTo>
                      <a:pt x="450180" y="313127"/>
                      <a:pt x="449258" y="321416"/>
                      <a:pt x="448335" y="328783"/>
                    </a:cubicBezTo>
                    <a:cubicBezTo>
                      <a:pt x="441878" y="325099"/>
                      <a:pt x="434498" y="322337"/>
                      <a:pt x="426195" y="321416"/>
                    </a:cubicBezTo>
                    <a:cubicBezTo>
                      <a:pt x="426195" y="315890"/>
                      <a:pt x="427118" y="310364"/>
                      <a:pt x="427118" y="305759"/>
                    </a:cubicBezTo>
                    <a:cubicBezTo>
                      <a:pt x="427118" y="304838"/>
                      <a:pt x="427118" y="304838"/>
                      <a:pt x="427118" y="304838"/>
                    </a:cubicBezTo>
                    <a:lnTo>
                      <a:pt x="296122" y="304838"/>
                    </a:lnTo>
                    <a:lnTo>
                      <a:pt x="296122" y="305759"/>
                    </a:lnTo>
                    <a:lnTo>
                      <a:pt x="296122" y="346282"/>
                    </a:lnTo>
                    <a:cubicBezTo>
                      <a:pt x="292432" y="346282"/>
                      <a:pt x="289665" y="345361"/>
                      <a:pt x="286898" y="345361"/>
                    </a:cubicBezTo>
                    <a:cubicBezTo>
                      <a:pt x="282285" y="345361"/>
                      <a:pt x="276750" y="346282"/>
                      <a:pt x="272138" y="346282"/>
                    </a:cubicBezTo>
                    <a:lnTo>
                      <a:pt x="272138" y="305759"/>
                    </a:lnTo>
                    <a:lnTo>
                      <a:pt x="272138" y="304838"/>
                    </a:lnTo>
                    <a:lnTo>
                      <a:pt x="140220" y="304838"/>
                    </a:lnTo>
                    <a:cubicBezTo>
                      <a:pt x="140220" y="304838"/>
                      <a:pt x="140220" y="304838"/>
                      <a:pt x="140220" y="305759"/>
                    </a:cubicBezTo>
                    <a:cubicBezTo>
                      <a:pt x="140220" y="311285"/>
                      <a:pt x="140220" y="315890"/>
                      <a:pt x="141142" y="321416"/>
                    </a:cubicBezTo>
                    <a:cubicBezTo>
                      <a:pt x="132840" y="323258"/>
                      <a:pt x="125460" y="325099"/>
                      <a:pt x="118080" y="328783"/>
                    </a:cubicBezTo>
                    <a:cubicBezTo>
                      <a:pt x="117158" y="321416"/>
                      <a:pt x="117158" y="313127"/>
                      <a:pt x="116235" y="305759"/>
                    </a:cubicBezTo>
                    <a:cubicBezTo>
                      <a:pt x="116235" y="304838"/>
                      <a:pt x="116235" y="304838"/>
                      <a:pt x="116235" y="304838"/>
                    </a:cubicBezTo>
                    <a:lnTo>
                      <a:pt x="23985" y="304838"/>
                    </a:lnTo>
                    <a:cubicBezTo>
                      <a:pt x="27675" y="352728"/>
                      <a:pt x="44280" y="396934"/>
                      <a:pt x="71032" y="433773"/>
                    </a:cubicBezTo>
                    <a:cubicBezTo>
                      <a:pt x="75645" y="445745"/>
                      <a:pt x="85792" y="451271"/>
                      <a:pt x="84870" y="451271"/>
                    </a:cubicBezTo>
                    <a:cubicBezTo>
                      <a:pt x="85792" y="453113"/>
                      <a:pt x="87638" y="454955"/>
                      <a:pt x="88560" y="455876"/>
                    </a:cubicBezTo>
                    <a:lnTo>
                      <a:pt x="88560" y="456797"/>
                    </a:lnTo>
                    <a:cubicBezTo>
                      <a:pt x="86715" y="459560"/>
                      <a:pt x="84870" y="463244"/>
                      <a:pt x="83025" y="466928"/>
                    </a:cubicBezTo>
                    <a:lnTo>
                      <a:pt x="77490" y="478900"/>
                    </a:lnTo>
                    <a:cubicBezTo>
                      <a:pt x="73800" y="474295"/>
                      <a:pt x="69188" y="469690"/>
                      <a:pt x="65498" y="465086"/>
                    </a:cubicBezTo>
                    <a:cubicBezTo>
                      <a:pt x="60885" y="459560"/>
                      <a:pt x="56272" y="454034"/>
                      <a:pt x="51660" y="447587"/>
                    </a:cubicBezTo>
                    <a:cubicBezTo>
                      <a:pt x="19372" y="401539"/>
                      <a:pt x="0" y="344440"/>
                      <a:pt x="0" y="283656"/>
                    </a:cubicBezTo>
                    <a:cubicBezTo>
                      <a:pt x="0" y="222873"/>
                      <a:pt x="19372" y="166694"/>
                      <a:pt x="51660" y="120646"/>
                    </a:cubicBezTo>
                    <a:cubicBezTo>
                      <a:pt x="56272" y="114199"/>
                      <a:pt x="60885" y="107752"/>
                      <a:pt x="65498" y="102227"/>
                    </a:cubicBezTo>
                    <a:cubicBezTo>
                      <a:pt x="117158" y="40522"/>
                      <a:pt x="195570" y="921"/>
                      <a:pt x="28228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B5341322-3130-411C-A729-21677DEC3378}"/>
                </a:ext>
              </a:extLst>
            </p:cNvPr>
            <p:cNvGrpSpPr/>
            <p:nvPr/>
          </p:nvGrpSpPr>
          <p:grpSpPr>
            <a:xfrm>
              <a:off x="3614168" y="4747588"/>
              <a:ext cx="822599" cy="822598"/>
              <a:chOff x="3614168" y="1519531"/>
              <a:chExt cx="822599" cy="82259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B9554B75-3896-4D64-883D-BF34CAEB2231}"/>
                  </a:ext>
                </a:extLst>
              </p:cNvPr>
              <p:cNvSpPr/>
              <p:nvPr/>
            </p:nvSpPr>
            <p:spPr>
              <a:xfrm>
                <a:off x="3614168" y="1519531"/>
                <a:ext cx="822599" cy="822598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52DCB8A1-3E91-4514-8612-EB98465F05E6}"/>
                  </a:ext>
                </a:extLst>
              </p:cNvPr>
              <p:cNvSpPr/>
              <p:nvPr/>
            </p:nvSpPr>
            <p:spPr bwMode="auto">
              <a:xfrm>
                <a:off x="3831997" y="1737657"/>
                <a:ext cx="386940" cy="386345"/>
              </a:xfrm>
              <a:custGeom>
                <a:avLst/>
                <a:gdLst>
                  <a:gd name="connsiteX0" fmla="*/ 434432 w 578320"/>
                  <a:gd name="connsiteY0" fmla="*/ 403374 h 577432"/>
                  <a:gd name="connsiteX1" fmla="*/ 398460 w 578320"/>
                  <a:gd name="connsiteY1" fmla="*/ 497310 h 577432"/>
                  <a:gd name="connsiteX2" fmla="*/ 479628 w 578320"/>
                  <a:gd name="connsiteY2" fmla="*/ 428239 h 577432"/>
                  <a:gd name="connsiteX3" fmla="*/ 434432 w 578320"/>
                  <a:gd name="connsiteY3" fmla="*/ 403374 h 577432"/>
                  <a:gd name="connsiteX4" fmla="*/ 355072 w 578320"/>
                  <a:gd name="connsiteY4" fmla="*/ 324108 h 577432"/>
                  <a:gd name="connsiteX5" fmla="*/ 188173 w 578320"/>
                  <a:gd name="connsiteY5" fmla="*/ 350812 h 577432"/>
                  <a:gd name="connsiteX6" fmla="*/ 221368 w 578320"/>
                  <a:gd name="connsiteY6" fmla="*/ 383963 h 577432"/>
                  <a:gd name="connsiteX7" fmla="*/ 214914 w 578320"/>
                  <a:gd name="connsiteY7" fmla="*/ 393171 h 577432"/>
                  <a:gd name="connsiteX8" fmla="*/ 60001 w 578320"/>
                  <a:gd name="connsiteY8" fmla="*/ 513800 h 577432"/>
                  <a:gd name="connsiteX9" fmla="*/ 39715 w 578320"/>
                  <a:gd name="connsiteY9" fmla="*/ 510117 h 577432"/>
                  <a:gd name="connsiteX10" fmla="*/ 110717 w 578320"/>
                  <a:gd name="connsiteY10" fmla="*/ 537742 h 577432"/>
                  <a:gd name="connsiteX11" fmla="*/ 286837 w 578320"/>
                  <a:gd name="connsiteY11" fmla="*/ 464996 h 577432"/>
                  <a:gd name="connsiteX12" fmla="*/ 296058 w 578320"/>
                  <a:gd name="connsiteY12" fmla="*/ 458550 h 577432"/>
                  <a:gd name="connsiteX13" fmla="*/ 328331 w 578320"/>
                  <a:gd name="connsiteY13" fmla="*/ 490779 h 577432"/>
                  <a:gd name="connsiteX14" fmla="*/ 351384 w 578320"/>
                  <a:gd name="connsiteY14" fmla="*/ 298325 h 577432"/>
                  <a:gd name="connsiteX15" fmla="*/ 374436 w 578320"/>
                  <a:gd name="connsiteY15" fmla="*/ 305692 h 577432"/>
                  <a:gd name="connsiteX16" fmla="*/ 381813 w 578320"/>
                  <a:gd name="connsiteY16" fmla="*/ 328712 h 577432"/>
                  <a:gd name="connsiteX17" fmla="*/ 354150 w 578320"/>
                  <a:gd name="connsiteY17" fmla="*/ 495383 h 577432"/>
                  <a:gd name="connsiteX18" fmla="*/ 336630 w 578320"/>
                  <a:gd name="connsiteY18" fmla="*/ 515642 h 577432"/>
                  <a:gd name="connsiteX19" fmla="*/ 328331 w 578320"/>
                  <a:gd name="connsiteY19" fmla="*/ 516563 h 577432"/>
                  <a:gd name="connsiteX20" fmla="*/ 309889 w 578320"/>
                  <a:gd name="connsiteY20" fmla="*/ 509196 h 577432"/>
                  <a:gd name="connsiteX21" fmla="*/ 293292 w 578320"/>
                  <a:gd name="connsiteY21" fmla="*/ 492621 h 577432"/>
                  <a:gd name="connsiteX22" fmla="*/ 110717 w 578320"/>
                  <a:gd name="connsiteY22" fmla="*/ 563525 h 577432"/>
                  <a:gd name="connsiteX23" fmla="*/ 21273 w 578320"/>
                  <a:gd name="connsiteY23" fmla="*/ 528534 h 577432"/>
                  <a:gd name="connsiteX24" fmla="*/ 17585 w 578320"/>
                  <a:gd name="connsiteY24" fmla="*/ 494463 h 577432"/>
                  <a:gd name="connsiteX25" fmla="*/ 50780 w 578320"/>
                  <a:gd name="connsiteY25" fmla="*/ 486175 h 577432"/>
                  <a:gd name="connsiteX26" fmla="*/ 60001 w 578320"/>
                  <a:gd name="connsiteY26" fmla="*/ 488017 h 577432"/>
                  <a:gd name="connsiteX27" fmla="*/ 186329 w 578320"/>
                  <a:gd name="connsiteY27" fmla="*/ 386725 h 577432"/>
                  <a:gd name="connsiteX28" fmla="*/ 169731 w 578320"/>
                  <a:gd name="connsiteY28" fmla="*/ 369229 h 577432"/>
                  <a:gd name="connsiteX29" fmla="*/ 163276 w 578320"/>
                  <a:gd name="connsiteY29" fmla="*/ 343446 h 577432"/>
                  <a:gd name="connsiteX30" fmla="*/ 184484 w 578320"/>
                  <a:gd name="connsiteY30" fmla="*/ 325029 h 577432"/>
                  <a:gd name="connsiteX31" fmla="*/ 505454 w 578320"/>
                  <a:gd name="connsiteY31" fmla="*/ 194319 h 577432"/>
                  <a:gd name="connsiteX32" fmla="*/ 442733 w 578320"/>
                  <a:gd name="connsiteY32" fmla="*/ 226552 h 577432"/>
                  <a:gd name="connsiteX33" fmla="*/ 446423 w 578320"/>
                  <a:gd name="connsiteY33" fmla="*/ 288255 h 577432"/>
                  <a:gd name="connsiteX34" fmla="*/ 442733 w 578320"/>
                  <a:gd name="connsiteY34" fmla="*/ 350880 h 577432"/>
                  <a:gd name="connsiteX35" fmla="*/ 505454 w 578320"/>
                  <a:gd name="connsiteY35" fmla="*/ 382192 h 577432"/>
                  <a:gd name="connsiteX36" fmla="*/ 525746 w 578320"/>
                  <a:gd name="connsiteY36" fmla="*/ 288255 h 577432"/>
                  <a:gd name="connsiteX37" fmla="*/ 505454 w 578320"/>
                  <a:gd name="connsiteY37" fmla="*/ 194319 h 577432"/>
                  <a:gd name="connsiteX38" fmla="*/ 71944 w 578320"/>
                  <a:gd name="connsiteY38" fmla="*/ 194319 h 577432"/>
                  <a:gd name="connsiteX39" fmla="*/ 52575 w 578320"/>
                  <a:gd name="connsiteY39" fmla="*/ 288255 h 577432"/>
                  <a:gd name="connsiteX40" fmla="*/ 71944 w 578320"/>
                  <a:gd name="connsiteY40" fmla="*/ 382192 h 577432"/>
                  <a:gd name="connsiteX41" fmla="*/ 134665 w 578320"/>
                  <a:gd name="connsiteY41" fmla="*/ 350880 h 577432"/>
                  <a:gd name="connsiteX42" fmla="*/ 130975 w 578320"/>
                  <a:gd name="connsiteY42" fmla="*/ 288255 h 577432"/>
                  <a:gd name="connsiteX43" fmla="*/ 134665 w 578320"/>
                  <a:gd name="connsiteY43" fmla="*/ 226552 h 577432"/>
                  <a:gd name="connsiteX44" fmla="*/ 71944 w 578320"/>
                  <a:gd name="connsiteY44" fmla="*/ 194319 h 577432"/>
                  <a:gd name="connsiteX45" fmla="*/ 398460 w 578320"/>
                  <a:gd name="connsiteY45" fmla="*/ 79201 h 577432"/>
                  <a:gd name="connsiteX46" fmla="*/ 434432 w 578320"/>
                  <a:gd name="connsiteY46" fmla="*/ 174058 h 577432"/>
                  <a:gd name="connsiteX47" fmla="*/ 479628 w 578320"/>
                  <a:gd name="connsiteY47" fmla="*/ 149193 h 577432"/>
                  <a:gd name="connsiteX48" fmla="*/ 398460 w 578320"/>
                  <a:gd name="connsiteY48" fmla="*/ 79201 h 577432"/>
                  <a:gd name="connsiteX49" fmla="*/ 178938 w 578320"/>
                  <a:gd name="connsiteY49" fmla="*/ 79201 h 577432"/>
                  <a:gd name="connsiteX50" fmla="*/ 98693 w 578320"/>
                  <a:gd name="connsiteY50" fmla="*/ 149193 h 577432"/>
                  <a:gd name="connsiteX51" fmla="*/ 143888 w 578320"/>
                  <a:gd name="connsiteY51" fmla="*/ 174058 h 577432"/>
                  <a:gd name="connsiteX52" fmla="*/ 178938 w 578320"/>
                  <a:gd name="connsiteY52" fmla="*/ 79201 h 577432"/>
                  <a:gd name="connsiteX53" fmla="*/ 315447 w 578320"/>
                  <a:gd name="connsiteY53" fmla="*/ 61703 h 577432"/>
                  <a:gd name="connsiteX54" fmla="*/ 315447 w 578320"/>
                  <a:gd name="connsiteY54" fmla="*/ 198924 h 577432"/>
                  <a:gd name="connsiteX55" fmla="*/ 383702 w 578320"/>
                  <a:gd name="connsiteY55" fmla="*/ 189714 h 577432"/>
                  <a:gd name="connsiteX56" fmla="*/ 315447 w 578320"/>
                  <a:gd name="connsiteY56" fmla="*/ 61703 h 577432"/>
                  <a:gd name="connsiteX57" fmla="*/ 262873 w 578320"/>
                  <a:gd name="connsiteY57" fmla="*/ 61703 h 577432"/>
                  <a:gd name="connsiteX58" fmla="*/ 194618 w 578320"/>
                  <a:gd name="connsiteY58" fmla="*/ 189714 h 577432"/>
                  <a:gd name="connsiteX59" fmla="*/ 262873 w 578320"/>
                  <a:gd name="connsiteY59" fmla="*/ 198924 h 577432"/>
                  <a:gd name="connsiteX60" fmla="*/ 288699 w 578320"/>
                  <a:gd name="connsiteY60" fmla="*/ 0 h 577432"/>
                  <a:gd name="connsiteX61" fmla="*/ 578320 w 578320"/>
                  <a:gd name="connsiteY61" fmla="*/ 288255 h 577432"/>
                  <a:gd name="connsiteX62" fmla="*/ 288699 w 578320"/>
                  <a:gd name="connsiteY62" fmla="*/ 577432 h 577432"/>
                  <a:gd name="connsiteX63" fmla="*/ 213065 w 578320"/>
                  <a:gd name="connsiteY63" fmla="*/ 567302 h 577432"/>
                  <a:gd name="connsiteX64" fmla="*/ 289621 w 578320"/>
                  <a:gd name="connsiteY64" fmla="*/ 526780 h 577432"/>
                  <a:gd name="connsiteX65" fmla="*/ 291466 w 578320"/>
                  <a:gd name="connsiteY65" fmla="*/ 527701 h 577432"/>
                  <a:gd name="connsiteX66" fmla="*/ 328360 w 578320"/>
                  <a:gd name="connsiteY66" fmla="*/ 543357 h 577432"/>
                  <a:gd name="connsiteX67" fmla="*/ 344963 w 578320"/>
                  <a:gd name="connsiteY67" fmla="*/ 540594 h 577432"/>
                  <a:gd name="connsiteX68" fmla="*/ 380013 w 578320"/>
                  <a:gd name="connsiteY68" fmla="*/ 499152 h 577432"/>
                  <a:gd name="connsiteX69" fmla="*/ 407683 w 578320"/>
                  <a:gd name="connsiteY69" fmla="*/ 332461 h 577432"/>
                  <a:gd name="connsiteX70" fmla="*/ 393848 w 578320"/>
                  <a:gd name="connsiteY70" fmla="*/ 288255 h 577432"/>
                  <a:gd name="connsiteX71" fmla="*/ 392003 w 578320"/>
                  <a:gd name="connsiteY71" fmla="*/ 241287 h 577432"/>
                  <a:gd name="connsiteX72" fmla="*/ 315447 w 578320"/>
                  <a:gd name="connsiteY72" fmla="*/ 251418 h 577432"/>
                  <a:gd name="connsiteX73" fmla="*/ 315447 w 578320"/>
                  <a:gd name="connsiteY73" fmla="*/ 277204 h 577432"/>
                  <a:gd name="connsiteX74" fmla="*/ 262873 w 578320"/>
                  <a:gd name="connsiteY74" fmla="*/ 286413 h 577432"/>
                  <a:gd name="connsiteX75" fmla="*/ 262873 w 578320"/>
                  <a:gd name="connsiteY75" fmla="*/ 251418 h 577432"/>
                  <a:gd name="connsiteX76" fmla="*/ 186317 w 578320"/>
                  <a:gd name="connsiteY76" fmla="*/ 241287 h 577432"/>
                  <a:gd name="connsiteX77" fmla="*/ 183550 w 578320"/>
                  <a:gd name="connsiteY77" fmla="*/ 288255 h 577432"/>
                  <a:gd name="connsiteX78" fmla="*/ 184472 w 578320"/>
                  <a:gd name="connsiteY78" fmla="*/ 298386 h 577432"/>
                  <a:gd name="connsiteX79" fmla="*/ 179860 w 578320"/>
                  <a:gd name="connsiteY79" fmla="*/ 299307 h 577432"/>
                  <a:gd name="connsiteX80" fmla="*/ 138354 w 578320"/>
                  <a:gd name="connsiteY80" fmla="*/ 335224 h 577432"/>
                  <a:gd name="connsiteX81" fmla="*/ 151267 w 578320"/>
                  <a:gd name="connsiteY81" fmla="*/ 387718 h 577432"/>
                  <a:gd name="connsiteX82" fmla="*/ 132820 w 578320"/>
                  <a:gd name="connsiteY82" fmla="*/ 407979 h 577432"/>
                  <a:gd name="connsiteX83" fmla="*/ 98693 w 578320"/>
                  <a:gd name="connsiteY83" fmla="*/ 428239 h 577432"/>
                  <a:gd name="connsiteX84" fmla="*/ 104227 w 578320"/>
                  <a:gd name="connsiteY84" fmla="*/ 435607 h 577432"/>
                  <a:gd name="connsiteX85" fmla="*/ 59953 w 578320"/>
                  <a:gd name="connsiteY85" fmla="*/ 461393 h 577432"/>
                  <a:gd name="connsiteX86" fmla="*/ 57186 w 578320"/>
                  <a:gd name="connsiteY86" fmla="*/ 460472 h 577432"/>
                  <a:gd name="connsiteX87" fmla="*/ 0 w 578320"/>
                  <a:gd name="connsiteY87" fmla="*/ 288255 h 577432"/>
                  <a:gd name="connsiteX88" fmla="*/ 288699 w 578320"/>
                  <a:gd name="connsiteY88" fmla="*/ 0 h 57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578320" h="577432">
                    <a:moveTo>
                      <a:pt x="434432" y="403374"/>
                    </a:moveTo>
                    <a:cubicBezTo>
                      <a:pt x="426131" y="439291"/>
                      <a:pt x="413218" y="471524"/>
                      <a:pt x="398460" y="497310"/>
                    </a:cubicBezTo>
                    <a:cubicBezTo>
                      <a:pt x="430742" y="480733"/>
                      <a:pt x="458413" y="456789"/>
                      <a:pt x="479628" y="428239"/>
                    </a:cubicBezTo>
                    <a:cubicBezTo>
                      <a:pt x="466714" y="419030"/>
                      <a:pt x="451034" y="410741"/>
                      <a:pt x="434432" y="403374"/>
                    </a:cubicBezTo>
                    <a:close/>
                    <a:moveTo>
                      <a:pt x="355072" y="324108"/>
                    </a:moveTo>
                    <a:lnTo>
                      <a:pt x="188173" y="350812"/>
                    </a:lnTo>
                    <a:lnTo>
                      <a:pt x="221368" y="383963"/>
                    </a:lnTo>
                    <a:lnTo>
                      <a:pt x="214914" y="393171"/>
                    </a:lnTo>
                    <a:cubicBezTo>
                      <a:pt x="199238" y="413429"/>
                      <a:pt x="119938" y="513800"/>
                      <a:pt x="60001" y="513800"/>
                    </a:cubicBezTo>
                    <a:cubicBezTo>
                      <a:pt x="52625" y="513800"/>
                      <a:pt x="46170" y="512879"/>
                      <a:pt x="39715" y="510117"/>
                    </a:cubicBezTo>
                    <a:cubicBezTo>
                      <a:pt x="58157" y="528534"/>
                      <a:pt x="82132" y="537742"/>
                      <a:pt x="110717" y="537742"/>
                    </a:cubicBezTo>
                    <a:cubicBezTo>
                      <a:pt x="181718" y="537742"/>
                      <a:pt x="263785" y="481571"/>
                      <a:pt x="286837" y="464996"/>
                    </a:cubicBezTo>
                    <a:lnTo>
                      <a:pt x="296058" y="458550"/>
                    </a:lnTo>
                    <a:lnTo>
                      <a:pt x="328331" y="490779"/>
                    </a:lnTo>
                    <a:close/>
                    <a:moveTo>
                      <a:pt x="351384" y="298325"/>
                    </a:moveTo>
                    <a:cubicBezTo>
                      <a:pt x="360605" y="296483"/>
                      <a:pt x="367982" y="299246"/>
                      <a:pt x="374436" y="305692"/>
                    </a:cubicBezTo>
                    <a:cubicBezTo>
                      <a:pt x="379969" y="311217"/>
                      <a:pt x="382735" y="320425"/>
                      <a:pt x="381813" y="328712"/>
                    </a:cubicBezTo>
                    <a:lnTo>
                      <a:pt x="354150" y="495383"/>
                    </a:lnTo>
                    <a:cubicBezTo>
                      <a:pt x="352306" y="504592"/>
                      <a:pt x="345851" y="512879"/>
                      <a:pt x="336630" y="515642"/>
                    </a:cubicBezTo>
                    <a:cubicBezTo>
                      <a:pt x="333864" y="516563"/>
                      <a:pt x="331098" y="516563"/>
                      <a:pt x="328331" y="516563"/>
                    </a:cubicBezTo>
                    <a:cubicBezTo>
                      <a:pt x="321877" y="516563"/>
                      <a:pt x="314500" y="513800"/>
                      <a:pt x="309889" y="509196"/>
                    </a:cubicBezTo>
                    <a:lnTo>
                      <a:pt x="293292" y="492621"/>
                    </a:lnTo>
                    <a:cubicBezTo>
                      <a:pt x="256408" y="518404"/>
                      <a:pt x="181718" y="563525"/>
                      <a:pt x="110717" y="563525"/>
                    </a:cubicBezTo>
                    <a:cubicBezTo>
                      <a:pt x="74755" y="563525"/>
                      <a:pt x="44326" y="551554"/>
                      <a:pt x="21273" y="528534"/>
                    </a:cubicBezTo>
                    <a:cubicBezTo>
                      <a:pt x="12052" y="519325"/>
                      <a:pt x="10208" y="505513"/>
                      <a:pt x="17585" y="494463"/>
                    </a:cubicBezTo>
                    <a:cubicBezTo>
                      <a:pt x="24962" y="484333"/>
                      <a:pt x="38793" y="480650"/>
                      <a:pt x="50780" y="486175"/>
                    </a:cubicBezTo>
                    <a:cubicBezTo>
                      <a:pt x="53547" y="487096"/>
                      <a:pt x="56313" y="488017"/>
                      <a:pt x="60001" y="488017"/>
                    </a:cubicBezTo>
                    <a:cubicBezTo>
                      <a:pt x="92275" y="488017"/>
                      <a:pt x="146678" y="436450"/>
                      <a:pt x="186329" y="386725"/>
                    </a:cubicBezTo>
                    <a:lnTo>
                      <a:pt x="169731" y="369229"/>
                    </a:lnTo>
                    <a:cubicBezTo>
                      <a:pt x="163276" y="362783"/>
                      <a:pt x="160510" y="352654"/>
                      <a:pt x="163276" y="343446"/>
                    </a:cubicBezTo>
                    <a:cubicBezTo>
                      <a:pt x="166964" y="333317"/>
                      <a:pt x="174341" y="326871"/>
                      <a:pt x="184484" y="325029"/>
                    </a:cubicBezTo>
                    <a:close/>
                    <a:moveTo>
                      <a:pt x="505454" y="194319"/>
                    </a:moveTo>
                    <a:cubicBezTo>
                      <a:pt x="487006" y="207212"/>
                      <a:pt x="466714" y="218264"/>
                      <a:pt x="442733" y="226552"/>
                    </a:cubicBezTo>
                    <a:cubicBezTo>
                      <a:pt x="445500" y="246813"/>
                      <a:pt x="446423" y="267074"/>
                      <a:pt x="446423" y="288255"/>
                    </a:cubicBezTo>
                    <a:cubicBezTo>
                      <a:pt x="446423" y="310358"/>
                      <a:pt x="445500" y="330619"/>
                      <a:pt x="442733" y="350880"/>
                    </a:cubicBezTo>
                    <a:cubicBezTo>
                      <a:pt x="466714" y="359168"/>
                      <a:pt x="487006" y="370220"/>
                      <a:pt x="505454" y="382192"/>
                    </a:cubicBezTo>
                    <a:cubicBezTo>
                      <a:pt x="518367" y="353643"/>
                      <a:pt x="525746" y="322331"/>
                      <a:pt x="525746" y="288255"/>
                    </a:cubicBezTo>
                    <a:cubicBezTo>
                      <a:pt x="525746" y="255101"/>
                      <a:pt x="518367" y="223789"/>
                      <a:pt x="505454" y="194319"/>
                    </a:cubicBezTo>
                    <a:close/>
                    <a:moveTo>
                      <a:pt x="71944" y="194319"/>
                    </a:moveTo>
                    <a:cubicBezTo>
                      <a:pt x="59953" y="223789"/>
                      <a:pt x="52575" y="255101"/>
                      <a:pt x="52575" y="288255"/>
                    </a:cubicBezTo>
                    <a:cubicBezTo>
                      <a:pt x="52575" y="322331"/>
                      <a:pt x="59953" y="353643"/>
                      <a:pt x="71944" y="382192"/>
                    </a:cubicBezTo>
                    <a:cubicBezTo>
                      <a:pt x="90391" y="370220"/>
                      <a:pt x="111606" y="359168"/>
                      <a:pt x="134665" y="350880"/>
                    </a:cubicBezTo>
                    <a:cubicBezTo>
                      <a:pt x="132820" y="330619"/>
                      <a:pt x="130975" y="310358"/>
                      <a:pt x="130975" y="288255"/>
                    </a:cubicBezTo>
                    <a:cubicBezTo>
                      <a:pt x="130975" y="267074"/>
                      <a:pt x="132820" y="246813"/>
                      <a:pt x="134665" y="226552"/>
                    </a:cubicBezTo>
                    <a:cubicBezTo>
                      <a:pt x="111606" y="217343"/>
                      <a:pt x="90391" y="207212"/>
                      <a:pt x="71944" y="194319"/>
                    </a:cubicBezTo>
                    <a:close/>
                    <a:moveTo>
                      <a:pt x="398460" y="79201"/>
                    </a:moveTo>
                    <a:cubicBezTo>
                      <a:pt x="413218" y="105908"/>
                      <a:pt x="426131" y="138141"/>
                      <a:pt x="434432" y="174058"/>
                    </a:cubicBezTo>
                    <a:cubicBezTo>
                      <a:pt x="451034" y="166691"/>
                      <a:pt x="466714" y="158402"/>
                      <a:pt x="479628" y="149193"/>
                    </a:cubicBezTo>
                    <a:cubicBezTo>
                      <a:pt x="458413" y="120643"/>
                      <a:pt x="430742" y="96699"/>
                      <a:pt x="398460" y="79201"/>
                    </a:cubicBezTo>
                    <a:close/>
                    <a:moveTo>
                      <a:pt x="178938" y="79201"/>
                    </a:moveTo>
                    <a:cubicBezTo>
                      <a:pt x="147578" y="96699"/>
                      <a:pt x="119907" y="120643"/>
                      <a:pt x="98693" y="149193"/>
                    </a:cubicBezTo>
                    <a:cubicBezTo>
                      <a:pt x="111606" y="158402"/>
                      <a:pt x="127286" y="166691"/>
                      <a:pt x="143888" y="174058"/>
                    </a:cubicBezTo>
                    <a:cubicBezTo>
                      <a:pt x="152190" y="138141"/>
                      <a:pt x="164180" y="105908"/>
                      <a:pt x="178938" y="79201"/>
                    </a:cubicBezTo>
                    <a:close/>
                    <a:moveTo>
                      <a:pt x="315447" y="61703"/>
                    </a:moveTo>
                    <a:lnTo>
                      <a:pt x="315447" y="198924"/>
                    </a:lnTo>
                    <a:cubicBezTo>
                      <a:pt x="339429" y="198003"/>
                      <a:pt x="362488" y="194319"/>
                      <a:pt x="383702" y="189714"/>
                    </a:cubicBezTo>
                    <a:cubicBezTo>
                      <a:pt x="369867" y="125248"/>
                      <a:pt x="343118" y="79201"/>
                      <a:pt x="315447" y="61703"/>
                    </a:cubicBezTo>
                    <a:close/>
                    <a:moveTo>
                      <a:pt x="262873" y="61703"/>
                    </a:moveTo>
                    <a:cubicBezTo>
                      <a:pt x="234280" y="79201"/>
                      <a:pt x="208454" y="125248"/>
                      <a:pt x="194618" y="189714"/>
                    </a:cubicBezTo>
                    <a:cubicBezTo>
                      <a:pt x="215832" y="194319"/>
                      <a:pt x="238891" y="198003"/>
                      <a:pt x="262873" y="198924"/>
                    </a:cubicBezTo>
                    <a:close/>
                    <a:moveTo>
                      <a:pt x="288699" y="0"/>
                    </a:moveTo>
                    <a:cubicBezTo>
                      <a:pt x="448267" y="0"/>
                      <a:pt x="578320" y="129853"/>
                      <a:pt x="578320" y="288255"/>
                    </a:cubicBezTo>
                    <a:cubicBezTo>
                      <a:pt x="578320" y="447579"/>
                      <a:pt x="448267" y="577432"/>
                      <a:pt x="288699" y="577432"/>
                    </a:cubicBezTo>
                    <a:cubicBezTo>
                      <a:pt x="262873" y="577432"/>
                      <a:pt x="237969" y="573748"/>
                      <a:pt x="213065" y="567302"/>
                    </a:cubicBezTo>
                    <a:cubicBezTo>
                      <a:pt x="242581" y="555330"/>
                      <a:pt x="269329" y="539674"/>
                      <a:pt x="289621" y="526780"/>
                    </a:cubicBezTo>
                    <a:lnTo>
                      <a:pt x="291466" y="527701"/>
                    </a:lnTo>
                    <a:cubicBezTo>
                      <a:pt x="300690" y="537832"/>
                      <a:pt x="314525" y="543357"/>
                      <a:pt x="328360" y="543357"/>
                    </a:cubicBezTo>
                    <a:cubicBezTo>
                      <a:pt x="333895" y="543357"/>
                      <a:pt x="339429" y="542436"/>
                      <a:pt x="344963" y="540594"/>
                    </a:cubicBezTo>
                    <a:cubicBezTo>
                      <a:pt x="363410" y="535069"/>
                      <a:pt x="377246" y="518492"/>
                      <a:pt x="380013" y="499152"/>
                    </a:cubicBezTo>
                    <a:lnTo>
                      <a:pt x="407683" y="332461"/>
                    </a:lnTo>
                    <a:cubicBezTo>
                      <a:pt x="409528" y="316805"/>
                      <a:pt x="404916" y="300228"/>
                      <a:pt x="393848" y="288255"/>
                    </a:cubicBezTo>
                    <a:cubicBezTo>
                      <a:pt x="393848" y="272599"/>
                      <a:pt x="392926" y="256943"/>
                      <a:pt x="392003" y="241287"/>
                    </a:cubicBezTo>
                    <a:cubicBezTo>
                      <a:pt x="367100" y="246813"/>
                      <a:pt x="342196" y="250497"/>
                      <a:pt x="315447" y="251418"/>
                    </a:cubicBezTo>
                    <a:lnTo>
                      <a:pt x="315447" y="277204"/>
                    </a:lnTo>
                    <a:lnTo>
                      <a:pt x="262873" y="286413"/>
                    </a:lnTo>
                    <a:lnTo>
                      <a:pt x="262873" y="251418"/>
                    </a:lnTo>
                    <a:cubicBezTo>
                      <a:pt x="236124" y="250497"/>
                      <a:pt x="210298" y="246813"/>
                      <a:pt x="186317" y="241287"/>
                    </a:cubicBezTo>
                    <a:cubicBezTo>
                      <a:pt x="184472" y="256943"/>
                      <a:pt x="183550" y="272599"/>
                      <a:pt x="183550" y="288255"/>
                    </a:cubicBezTo>
                    <a:cubicBezTo>
                      <a:pt x="183550" y="291939"/>
                      <a:pt x="184472" y="295623"/>
                      <a:pt x="184472" y="298386"/>
                    </a:cubicBezTo>
                    <a:lnTo>
                      <a:pt x="179860" y="299307"/>
                    </a:lnTo>
                    <a:cubicBezTo>
                      <a:pt x="160491" y="302991"/>
                      <a:pt x="144811" y="315884"/>
                      <a:pt x="138354" y="335224"/>
                    </a:cubicBezTo>
                    <a:cubicBezTo>
                      <a:pt x="132820" y="353643"/>
                      <a:pt x="137432" y="373904"/>
                      <a:pt x="151267" y="387718"/>
                    </a:cubicBezTo>
                    <a:cubicBezTo>
                      <a:pt x="144811" y="395085"/>
                      <a:pt x="138354" y="402453"/>
                      <a:pt x="132820" y="407979"/>
                    </a:cubicBezTo>
                    <a:cubicBezTo>
                      <a:pt x="119907" y="414425"/>
                      <a:pt x="108839" y="420872"/>
                      <a:pt x="98693" y="428239"/>
                    </a:cubicBezTo>
                    <a:cubicBezTo>
                      <a:pt x="100537" y="430081"/>
                      <a:pt x="102382" y="432844"/>
                      <a:pt x="104227" y="435607"/>
                    </a:cubicBezTo>
                    <a:cubicBezTo>
                      <a:pt x="83935" y="452184"/>
                      <a:pt x="68255" y="461393"/>
                      <a:pt x="59953" y="461393"/>
                    </a:cubicBezTo>
                    <a:cubicBezTo>
                      <a:pt x="59031" y="461393"/>
                      <a:pt x="58109" y="461393"/>
                      <a:pt x="57186" y="460472"/>
                    </a:cubicBezTo>
                    <a:cubicBezTo>
                      <a:pt x="21214" y="412583"/>
                      <a:pt x="0" y="352722"/>
                      <a:pt x="0" y="288255"/>
                    </a:cubicBezTo>
                    <a:cubicBezTo>
                      <a:pt x="0" y="129853"/>
                      <a:pt x="130053" y="0"/>
                      <a:pt x="28869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F2C76A01-CE97-423B-8989-B66F6A30E2A8}"/>
                </a:ext>
              </a:extLst>
            </p:cNvPr>
            <p:cNvGrpSpPr/>
            <p:nvPr/>
          </p:nvGrpSpPr>
          <p:grpSpPr>
            <a:xfrm>
              <a:off x="7755233" y="4747588"/>
              <a:ext cx="822599" cy="822598"/>
              <a:chOff x="3614168" y="1519531"/>
              <a:chExt cx="822599" cy="822598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E9A12C2B-09DE-4954-9E1E-196ED0C4553A}"/>
                  </a:ext>
                </a:extLst>
              </p:cNvPr>
              <p:cNvSpPr/>
              <p:nvPr/>
            </p:nvSpPr>
            <p:spPr>
              <a:xfrm>
                <a:off x="3614168" y="1519531"/>
                <a:ext cx="822599" cy="822598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9F8240AD-EAE3-4128-84E3-F49E1185C8C1}"/>
                  </a:ext>
                </a:extLst>
              </p:cNvPr>
              <p:cNvSpPr/>
              <p:nvPr/>
            </p:nvSpPr>
            <p:spPr bwMode="auto">
              <a:xfrm>
                <a:off x="3831997" y="1742408"/>
                <a:ext cx="386940" cy="376841"/>
              </a:xfrm>
              <a:custGeom>
                <a:avLst/>
                <a:gdLst>
                  <a:gd name="connsiteX0" fmla="*/ 254856 w 607258"/>
                  <a:gd name="connsiteY0" fmla="*/ 462909 h 591409"/>
                  <a:gd name="connsiteX1" fmla="*/ 281230 w 607258"/>
                  <a:gd name="connsiteY1" fmla="*/ 545836 h 591409"/>
                  <a:gd name="connsiteX2" fmla="*/ 284784 w 607258"/>
                  <a:gd name="connsiteY2" fmla="*/ 557043 h 591409"/>
                  <a:gd name="connsiteX3" fmla="*/ 296568 w 607258"/>
                  <a:gd name="connsiteY3" fmla="*/ 523797 h 591409"/>
                  <a:gd name="connsiteX4" fmla="*/ 303676 w 607258"/>
                  <a:gd name="connsiteY4" fmla="*/ 484388 h 591409"/>
                  <a:gd name="connsiteX5" fmla="*/ 303769 w 607258"/>
                  <a:gd name="connsiteY5" fmla="*/ 484388 h 591409"/>
                  <a:gd name="connsiteX6" fmla="*/ 303863 w 607258"/>
                  <a:gd name="connsiteY6" fmla="*/ 484388 h 591409"/>
                  <a:gd name="connsiteX7" fmla="*/ 304050 w 607258"/>
                  <a:gd name="connsiteY7" fmla="*/ 484388 h 591409"/>
                  <a:gd name="connsiteX8" fmla="*/ 304144 w 607258"/>
                  <a:gd name="connsiteY8" fmla="*/ 484388 h 591409"/>
                  <a:gd name="connsiteX9" fmla="*/ 311252 w 607258"/>
                  <a:gd name="connsiteY9" fmla="*/ 523797 h 591409"/>
                  <a:gd name="connsiteX10" fmla="*/ 322942 w 607258"/>
                  <a:gd name="connsiteY10" fmla="*/ 557043 h 591409"/>
                  <a:gd name="connsiteX11" fmla="*/ 326590 w 607258"/>
                  <a:gd name="connsiteY11" fmla="*/ 545836 h 591409"/>
                  <a:gd name="connsiteX12" fmla="*/ 352870 w 607258"/>
                  <a:gd name="connsiteY12" fmla="*/ 462909 h 591409"/>
                  <a:gd name="connsiteX13" fmla="*/ 407395 w 607258"/>
                  <a:gd name="connsiteY13" fmla="*/ 489244 h 591409"/>
                  <a:gd name="connsiteX14" fmla="*/ 423014 w 607258"/>
                  <a:gd name="connsiteY14" fmla="*/ 497556 h 591409"/>
                  <a:gd name="connsiteX15" fmla="*/ 449575 w 607258"/>
                  <a:gd name="connsiteY15" fmla="*/ 483454 h 591409"/>
                  <a:gd name="connsiteX16" fmla="*/ 471647 w 607258"/>
                  <a:gd name="connsiteY16" fmla="*/ 553214 h 591409"/>
                  <a:gd name="connsiteX17" fmla="*/ 474640 w 607258"/>
                  <a:gd name="connsiteY17" fmla="*/ 562646 h 591409"/>
                  <a:gd name="connsiteX18" fmla="*/ 484460 w 607258"/>
                  <a:gd name="connsiteY18" fmla="*/ 534630 h 591409"/>
                  <a:gd name="connsiteX19" fmla="*/ 490446 w 607258"/>
                  <a:gd name="connsiteY19" fmla="*/ 501571 h 591409"/>
                  <a:gd name="connsiteX20" fmla="*/ 490539 w 607258"/>
                  <a:gd name="connsiteY20" fmla="*/ 501571 h 591409"/>
                  <a:gd name="connsiteX21" fmla="*/ 490726 w 607258"/>
                  <a:gd name="connsiteY21" fmla="*/ 501571 h 591409"/>
                  <a:gd name="connsiteX22" fmla="*/ 490820 w 607258"/>
                  <a:gd name="connsiteY22" fmla="*/ 501571 h 591409"/>
                  <a:gd name="connsiteX23" fmla="*/ 490913 w 607258"/>
                  <a:gd name="connsiteY23" fmla="*/ 501571 h 591409"/>
                  <a:gd name="connsiteX24" fmla="*/ 496899 w 607258"/>
                  <a:gd name="connsiteY24" fmla="*/ 534630 h 591409"/>
                  <a:gd name="connsiteX25" fmla="*/ 506813 w 607258"/>
                  <a:gd name="connsiteY25" fmla="*/ 562646 h 591409"/>
                  <a:gd name="connsiteX26" fmla="*/ 509805 w 607258"/>
                  <a:gd name="connsiteY26" fmla="*/ 553214 h 591409"/>
                  <a:gd name="connsiteX27" fmla="*/ 531877 w 607258"/>
                  <a:gd name="connsiteY27" fmla="*/ 483454 h 591409"/>
                  <a:gd name="connsiteX28" fmla="*/ 577611 w 607258"/>
                  <a:gd name="connsiteY28" fmla="*/ 505493 h 591409"/>
                  <a:gd name="connsiteX29" fmla="*/ 607258 w 607258"/>
                  <a:gd name="connsiteY29" fmla="*/ 591409 h 591409"/>
                  <a:gd name="connsiteX30" fmla="*/ 490352 w 607258"/>
                  <a:gd name="connsiteY30" fmla="*/ 591409 h 591409"/>
                  <a:gd name="connsiteX31" fmla="*/ 484366 w 607258"/>
                  <a:gd name="connsiteY31" fmla="*/ 591409 h 591409"/>
                  <a:gd name="connsiteX32" fmla="*/ 442935 w 607258"/>
                  <a:gd name="connsiteY32" fmla="*/ 591409 h 591409"/>
                  <a:gd name="connsiteX33" fmla="*/ 373072 w 607258"/>
                  <a:gd name="connsiteY33" fmla="*/ 591409 h 591409"/>
                  <a:gd name="connsiteX34" fmla="*/ 303769 w 607258"/>
                  <a:gd name="connsiteY34" fmla="*/ 591409 h 591409"/>
                  <a:gd name="connsiteX35" fmla="*/ 296568 w 607258"/>
                  <a:gd name="connsiteY35" fmla="*/ 591409 h 591409"/>
                  <a:gd name="connsiteX36" fmla="*/ 234093 w 607258"/>
                  <a:gd name="connsiteY36" fmla="*/ 591409 h 591409"/>
                  <a:gd name="connsiteX37" fmla="*/ 164230 w 607258"/>
                  <a:gd name="connsiteY37" fmla="*/ 591409 h 591409"/>
                  <a:gd name="connsiteX38" fmla="*/ 117093 w 607258"/>
                  <a:gd name="connsiteY38" fmla="*/ 591409 h 591409"/>
                  <a:gd name="connsiteX39" fmla="*/ 111108 w 607258"/>
                  <a:gd name="connsiteY39" fmla="*/ 591409 h 591409"/>
                  <a:gd name="connsiteX40" fmla="*/ 0 w 607258"/>
                  <a:gd name="connsiteY40" fmla="*/ 591409 h 591409"/>
                  <a:gd name="connsiteX41" fmla="*/ 30208 w 607258"/>
                  <a:gd name="connsiteY41" fmla="*/ 505493 h 591409"/>
                  <a:gd name="connsiteX42" fmla="*/ 75942 w 607258"/>
                  <a:gd name="connsiteY42" fmla="*/ 483454 h 591409"/>
                  <a:gd name="connsiteX43" fmla="*/ 98014 w 607258"/>
                  <a:gd name="connsiteY43" fmla="*/ 553214 h 591409"/>
                  <a:gd name="connsiteX44" fmla="*/ 101007 w 607258"/>
                  <a:gd name="connsiteY44" fmla="*/ 562646 h 591409"/>
                  <a:gd name="connsiteX45" fmla="*/ 110827 w 607258"/>
                  <a:gd name="connsiteY45" fmla="*/ 534630 h 591409"/>
                  <a:gd name="connsiteX46" fmla="*/ 116813 w 607258"/>
                  <a:gd name="connsiteY46" fmla="*/ 501571 h 591409"/>
                  <a:gd name="connsiteX47" fmla="*/ 117000 w 607258"/>
                  <a:gd name="connsiteY47" fmla="*/ 501571 h 591409"/>
                  <a:gd name="connsiteX48" fmla="*/ 117093 w 607258"/>
                  <a:gd name="connsiteY48" fmla="*/ 501571 h 591409"/>
                  <a:gd name="connsiteX49" fmla="*/ 117187 w 607258"/>
                  <a:gd name="connsiteY49" fmla="*/ 501571 h 591409"/>
                  <a:gd name="connsiteX50" fmla="*/ 117374 w 607258"/>
                  <a:gd name="connsiteY50" fmla="*/ 501571 h 591409"/>
                  <a:gd name="connsiteX51" fmla="*/ 123360 w 607258"/>
                  <a:gd name="connsiteY51" fmla="*/ 534630 h 591409"/>
                  <a:gd name="connsiteX52" fmla="*/ 133180 w 607258"/>
                  <a:gd name="connsiteY52" fmla="*/ 562646 h 591409"/>
                  <a:gd name="connsiteX53" fmla="*/ 136172 w 607258"/>
                  <a:gd name="connsiteY53" fmla="*/ 553214 h 591409"/>
                  <a:gd name="connsiteX54" fmla="*/ 158244 w 607258"/>
                  <a:gd name="connsiteY54" fmla="*/ 483454 h 591409"/>
                  <a:gd name="connsiteX55" fmla="*/ 184806 w 607258"/>
                  <a:gd name="connsiteY55" fmla="*/ 497556 h 591409"/>
                  <a:gd name="connsiteX56" fmla="*/ 200424 w 607258"/>
                  <a:gd name="connsiteY56" fmla="*/ 489244 h 591409"/>
                  <a:gd name="connsiteX57" fmla="*/ 254856 w 607258"/>
                  <a:gd name="connsiteY57" fmla="*/ 462909 h 591409"/>
                  <a:gd name="connsiteX58" fmla="*/ 486780 w 607258"/>
                  <a:gd name="connsiteY58" fmla="*/ 322405 h 591409"/>
                  <a:gd name="connsiteX59" fmla="*/ 516615 w 607258"/>
                  <a:gd name="connsiteY59" fmla="*/ 328662 h 591409"/>
                  <a:gd name="connsiteX60" fmla="*/ 531112 w 607258"/>
                  <a:gd name="connsiteY60" fmla="*/ 342111 h 591409"/>
                  <a:gd name="connsiteX61" fmla="*/ 547012 w 607258"/>
                  <a:gd name="connsiteY61" fmla="*/ 392546 h 591409"/>
                  <a:gd name="connsiteX62" fmla="*/ 544954 w 607258"/>
                  <a:gd name="connsiteY62" fmla="*/ 400297 h 591409"/>
                  <a:gd name="connsiteX63" fmla="*/ 550004 w 607258"/>
                  <a:gd name="connsiteY63" fmla="*/ 421405 h 591409"/>
                  <a:gd name="connsiteX64" fmla="*/ 539810 w 607258"/>
                  <a:gd name="connsiteY64" fmla="*/ 439244 h 591409"/>
                  <a:gd name="connsiteX65" fmla="*/ 503802 w 607258"/>
                  <a:gd name="connsiteY65" fmla="*/ 483700 h 591409"/>
                  <a:gd name="connsiteX66" fmla="*/ 477334 w 607258"/>
                  <a:gd name="connsiteY66" fmla="*/ 483700 h 591409"/>
                  <a:gd name="connsiteX67" fmla="*/ 441419 w 607258"/>
                  <a:gd name="connsiteY67" fmla="*/ 439244 h 591409"/>
                  <a:gd name="connsiteX68" fmla="*/ 431225 w 607258"/>
                  <a:gd name="connsiteY68" fmla="*/ 421405 h 591409"/>
                  <a:gd name="connsiteX69" fmla="*/ 436275 w 607258"/>
                  <a:gd name="connsiteY69" fmla="*/ 400297 h 591409"/>
                  <a:gd name="connsiteX70" fmla="*/ 434217 w 607258"/>
                  <a:gd name="connsiteY70" fmla="*/ 392546 h 591409"/>
                  <a:gd name="connsiteX71" fmla="*/ 434030 w 607258"/>
                  <a:gd name="connsiteY71" fmla="*/ 367795 h 591409"/>
                  <a:gd name="connsiteX72" fmla="*/ 448527 w 607258"/>
                  <a:gd name="connsiteY72" fmla="*/ 342392 h 591409"/>
                  <a:gd name="connsiteX73" fmla="*/ 461995 w 607258"/>
                  <a:gd name="connsiteY73" fmla="*/ 331277 h 591409"/>
                  <a:gd name="connsiteX74" fmla="*/ 475089 w 607258"/>
                  <a:gd name="connsiteY74" fmla="*/ 324553 h 591409"/>
                  <a:gd name="connsiteX75" fmla="*/ 486780 w 607258"/>
                  <a:gd name="connsiteY75" fmla="*/ 322405 h 591409"/>
                  <a:gd name="connsiteX76" fmla="*/ 113711 w 607258"/>
                  <a:gd name="connsiteY76" fmla="*/ 322405 h 591409"/>
                  <a:gd name="connsiteX77" fmla="*/ 143552 w 607258"/>
                  <a:gd name="connsiteY77" fmla="*/ 328662 h 591409"/>
                  <a:gd name="connsiteX78" fmla="*/ 157958 w 607258"/>
                  <a:gd name="connsiteY78" fmla="*/ 342111 h 591409"/>
                  <a:gd name="connsiteX79" fmla="*/ 173954 w 607258"/>
                  <a:gd name="connsiteY79" fmla="*/ 392546 h 591409"/>
                  <a:gd name="connsiteX80" fmla="*/ 171802 w 607258"/>
                  <a:gd name="connsiteY80" fmla="*/ 400297 h 591409"/>
                  <a:gd name="connsiteX81" fmla="*/ 176947 w 607258"/>
                  <a:gd name="connsiteY81" fmla="*/ 421405 h 591409"/>
                  <a:gd name="connsiteX82" fmla="*/ 166751 w 607258"/>
                  <a:gd name="connsiteY82" fmla="*/ 439244 h 591409"/>
                  <a:gd name="connsiteX83" fmla="*/ 130643 w 607258"/>
                  <a:gd name="connsiteY83" fmla="*/ 483700 h 591409"/>
                  <a:gd name="connsiteX84" fmla="*/ 104264 w 607258"/>
                  <a:gd name="connsiteY84" fmla="*/ 483700 h 591409"/>
                  <a:gd name="connsiteX85" fmla="*/ 68343 w 607258"/>
                  <a:gd name="connsiteY85" fmla="*/ 439244 h 591409"/>
                  <a:gd name="connsiteX86" fmla="*/ 58053 w 607258"/>
                  <a:gd name="connsiteY86" fmla="*/ 421592 h 591409"/>
                  <a:gd name="connsiteX87" fmla="*/ 63198 w 607258"/>
                  <a:gd name="connsiteY87" fmla="*/ 400391 h 591409"/>
                  <a:gd name="connsiteX88" fmla="*/ 61046 w 607258"/>
                  <a:gd name="connsiteY88" fmla="*/ 392639 h 591409"/>
                  <a:gd name="connsiteX89" fmla="*/ 60953 w 607258"/>
                  <a:gd name="connsiteY89" fmla="*/ 367889 h 591409"/>
                  <a:gd name="connsiteX90" fmla="*/ 75452 w 607258"/>
                  <a:gd name="connsiteY90" fmla="*/ 342485 h 591409"/>
                  <a:gd name="connsiteX91" fmla="*/ 88922 w 607258"/>
                  <a:gd name="connsiteY91" fmla="*/ 331371 h 591409"/>
                  <a:gd name="connsiteX92" fmla="*/ 101831 w 607258"/>
                  <a:gd name="connsiteY92" fmla="*/ 324646 h 591409"/>
                  <a:gd name="connsiteX93" fmla="*/ 113711 w 607258"/>
                  <a:gd name="connsiteY93" fmla="*/ 322405 h 591409"/>
                  <a:gd name="connsiteX94" fmla="*/ 299632 w 607258"/>
                  <a:gd name="connsiteY94" fmla="*/ 270867 h 591409"/>
                  <a:gd name="connsiteX95" fmla="*/ 335085 w 607258"/>
                  <a:gd name="connsiteY95" fmla="*/ 278338 h 591409"/>
                  <a:gd name="connsiteX96" fmla="*/ 352298 w 607258"/>
                  <a:gd name="connsiteY96" fmla="*/ 294401 h 591409"/>
                  <a:gd name="connsiteX97" fmla="*/ 371194 w 607258"/>
                  <a:gd name="connsiteY97" fmla="*/ 354447 h 591409"/>
                  <a:gd name="connsiteX98" fmla="*/ 368761 w 607258"/>
                  <a:gd name="connsiteY98" fmla="*/ 363693 h 591409"/>
                  <a:gd name="connsiteX99" fmla="*/ 374842 w 607258"/>
                  <a:gd name="connsiteY99" fmla="*/ 388813 h 591409"/>
                  <a:gd name="connsiteX100" fmla="*/ 362588 w 607258"/>
                  <a:gd name="connsiteY100" fmla="*/ 410105 h 591409"/>
                  <a:gd name="connsiteX101" fmla="*/ 319744 w 607258"/>
                  <a:gd name="connsiteY101" fmla="*/ 463055 h 591409"/>
                  <a:gd name="connsiteX102" fmla="*/ 288313 w 607258"/>
                  <a:gd name="connsiteY102" fmla="*/ 463148 h 591409"/>
                  <a:gd name="connsiteX103" fmla="*/ 245469 w 607258"/>
                  <a:gd name="connsiteY103" fmla="*/ 410199 h 591409"/>
                  <a:gd name="connsiteX104" fmla="*/ 233308 w 607258"/>
                  <a:gd name="connsiteY104" fmla="*/ 388907 h 591409"/>
                  <a:gd name="connsiteX105" fmla="*/ 239482 w 607258"/>
                  <a:gd name="connsiteY105" fmla="*/ 363786 h 591409"/>
                  <a:gd name="connsiteX106" fmla="*/ 237050 w 607258"/>
                  <a:gd name="connsiteY106" fmla="*/ 354541 h 591409"/>
                  <a:gd name="connsiteX107" fmla="*/ 236863 w 607258"/>
                  <a:gd name="connsiteY107" fmla="*/ 325031 h 591409"/>
                  <a:gd name="connsiteX108" fmla="*/ 254075 w 607258"/>
                  <a:gd name="connsiteY108" fmla="*/ 294774 h 591409"/>
                  <a:gd name="connsiteX109" fmla="*/ 270071 w 607258"/>
                  <a:gd name="connsiteY109" fmla="*/ 281607 h 591409"/>
                  <a:gd name="connsiteX110" fmla="*/ 285506 w 607258"/>
                  <a:gd name="connsiteY110" fmla="*/ 273669 h 591409"/>
                  <a:gd name="connsiteX111" fmla="*/ 299632 w 607258"/>
                  <a:gd name="connsiteY111" fmla="*/ 270867 h 591409"/>
                  <a:gd name="connsiteX112" fmla="*/ 246074 w 607258"/>
                  <a:gd name="connsiteY112" fmla="*/ 135486 h 591409"/>
                  <a:gd name="connsiteX113" fmla="*/ 242708 w 607258"/>
                  <a:gd name="connsiteY113" fmla="*/ 171715 h 591409"/>
                  <a:gd name="connsiteX114" fmla="*/ 246168 w 607258"/>
                  <a:gd name="connsiteY114" fmla="*/ 207944 h 591409"/>
                  <a:gd name="connsiteX115" fmla="*/ 291334 w 607258"/>
                  <a:gd name="connsiteY115" fmla="*/ 207944 h 591409"/>
                  <a:gd name="connsiteX116" fmla="*/ 291334 w 607258"/>
                  <a:gd name="connsiteY116" fmla="*/ 135486 h 591409"/>
                  <a:gd name="connsiteX117" fmla="*/ 388399 w 607258"/>
                  <a:gd name="connsiteY117" fmla="*/ 135299 h 591409"/>
                  <a:gd name="connsiteX118" fmla="*/ 391391 w 607258"/>
                  <a:gd name="connsiteY118" fmla="*/ 171528 h 591409"/>
                  <a:gd name="connsiteX119" fmla="*/ 388399 w 607258"/>
                  <a:gd name="connsiteY119" fmla="*/ 207757 h 591409"/>
                  <a:gd name="connsiteX120" fmla="*/ 426926 w 607258"/>
                  <a:gd name="connsiteY120" fmla="*/ 207757 h 591409"/>
                  <a:gd name="connsiteX121" fmla="*/ 432162 w 607258"/>
                  <a:gd name="connsiteY121" fmla="*/ 171528 h 591409"/>
                  <a:gd name="connsiteX122" fmla="*/ 426926 w 607258"/>
                  <a:gd name="connsiteY122" fmla="*/ 135299 h 591409"/>
                  <a:gd name="connsiteX123" fmla="*/ 316956 w 607258"/>
                  <a:gd name="connsiteY123" fmla="*/ 135299 h 591409"/>
                  <a:gd name="connsiteX124" fmla="*/ 316956 w 607258"/>
                  <a:gd name="connsiteY124" fmla="*/ 207757 h 591409"/>
                  <a:gd name="connsiteX125" fmla="*/ 362216 w 607258"/>
                  <a:gd name="connsiteY125" fmla="*/ 207757 h 591409"/>
                  <a:gd name="connsiteX126" fmla="*/ 365582 w 607258"/>
                  <a:gd name="connsiteY126" fmla="*/ 171528 h 591409"/>
                  <a:gd name="connsiteX127" fmla="*/ 362122 w 607258"/>
                  <a:gd name="connsiteY127" fmla="*/ 135299 h 591409"/>
                  <a:gd name="connsiteX128" fmla="*/ 181177 w 607258"/>
                  <a:gd name="connsiteY128" fmla="*/ 135299 h 591409"/>
                  <a:gd name="connsiteX129" fmla="*/ 175940 w 607258"/>
                  <a:gd name="connsiteY129" fmla="*/ 171528 h 591409"/>
                  <a:gd name="connsiteX130" fmla="*/ 181177 w 607258"/>
                  <a:gd name="connsiteY130" fmla="*/ 207757 h 591409"/>
                  <a:gd name="connsiteX131" fmla="*/ 219704 w 607258"/>
                  <a:gd name="connsiteY131" fmla="*/ 207757 h 591409"/>
                  <a:gd name="connsiteX132" fmla="*/ 216712 w 607258"/>
                  <a:gd name="connsiteY132" fmla="*/ 171528 h 591409"/>
                  <a:gd name="connsiteX133" fmla="*/ 219704 w 607258"/>
                  <a:gd name="connsiteY133" fmla="*/ 135299 h 591409"/>
                  <a:gd name="connsiteX134" fmla="*/ 253368 w 607258"/>
                  <a:gd name="connsiteY134" fmla="*/ 54157 h 591409"/>
                  <a:gd name="connsiteX135" fmla="*/ 192024 w 607258"/>
                  <a:gd name="connsiteY135" fmla="*/ 109715 h 591409"/>
                  <a:gd name="connsiteX136" fmla="*/ 225876 w 607258"/>
                  <a:gd name="connsiteY136" fmla="*/ 109715 h 591409"/>
                  <a:gd name="connsiteX137" fmla="*/ 253368 w 607258"/>
                  <a:gd name="connsiteY137" fmla="*/ 54157 h 591409"/>
                  <a:gd name="connsiteX138" fmla="*/ 354922 w 607258"/>
                  <a:gd name="connsiteY138" fmla="*/ 54064 h 591409"/>
                  <a:gd name="connsiteX139" fmla="*/ 382414 w 607258"/>
                  <a:gd name="connsiteY139" fmla="*/ 109528 h 591409"/>
                  <a:gd name="connsiteX140" fmla="*/ 416266 w 607258"/>
                  <a:gd name="connsiteY140" fmla="*/ 109528 h 591409"/>
                  <a:gd name="connsiteX141" fmla="*/ 354922 w 607258"/>
                  <a:gd name="connsiteY141" fmla="*/ 54064 h 591409"/>
                  <a:gd name="connsiteX142" fmla="*/ 316956 w 607258"/>
                  <a:gd name="connsiteY142" fmla="*/ 49301 h 591409"/>
                  <a:gd name="connsiteX143" fmla="*/ 316956 w 607258"/>
                  <a:gd name="connsiteY143" fmla="*/ 109715 h 591409"/>
                  <a:gd name="connsiteX144" fmla="*/ 355109 w 607258"/>
                  <a:gd name="connsiteY144" fmla="*/ 109715 h 591409"/>
                  <a:gd name="connsiteX145" fmla="*/ 316956 w 607258"/>
                  <a:gd name="connsiteY145" fmla="*/ 49301 h 591409"/>
                  <a:gd name="connsiteX146" fmla="*/ 291334 w 607258"/>
                  <a:gd name="connsiteY146" fmla="*/ 49021 h 591409"/>
                  <a:gd name="connsiteX147" fmla="*/ 252994 w 607258"/>
                  <a:gd name="connsiteY147" fmla="*/ 109528 h 591409"/>
                  <a:gd name="connsiteX148" fmla="*/ 291334 w 607258"/>
                  <a:gd name="connsiteY148" fmla="*/ 109528 h 591409"/>
                  <a:gd name="connsiteX149" fmla="*/ 304145 w 607258"/>
                  <a:gd name="connsiteY149" fmla="*/ 0 h 591409"/>
                  <a:gd name="connsiteX150" fmla="*/ 476113 w 607258"/>
                  <a:gd name="connsiteY150" fmla="*/ 171715 h 591409"/>
                  <a:gd name="connsiteX151" fmla="*/ 396628 w 607258"/>
                  <a:gd name="connsiteY151" fmla="*/ 316258 h 591409"/>
                  <a:gd name="connsiteX152" fmla="*/ 384565 w 607258"/>
                  <a:gd name="connsiteY152" fmla="*/ 287219 h 591409"/>
                  <a:gd name="connsiteX153" fmla="*/ 374933 w 607258"/>
                  <a:gd name="connsiteY153" fmla="*/ 277975 h 591409"/>
                  <a:gd name="connsiteX154" fmla="*/ 416078 w 607258"/>
                  <a:gd name="connsiteY154" fmla="*/ 233529 h 591409"/>
                  <a:gd name="connsiteX155" fmla="*/ 382321 w 607258"/>
                  <a:gd name="connsiteY155" fmla="*/ 233529 h 591409"/>
                  <a:gd name="connsiteX156" fmla="*/ 365956 w 607258"/>
                  <a:gd name="connsiteY156" fmla="*/ 271625 h 591409"/>
                  <a:gd name="connsiteX157" fmla="*/ 347441 w 607258"/>
                  <a:gd name="connsiteY157" fmla="*/ 257059 h 591409"/>
                  <a:gd name="connsiteX158" fmla="*/ 345290 w 607258"/>
                  <a:gd name="connsiteY158" fmla="*/ 255938 h 591409"/>
                  <a:gd name="connsiteX159" fmla="*/ 355296 w 607258"/>
                  <a:gd name="connsiteY159" fmla="*/ 233715 h 591409"/>
                  <a:gd name="connsiteX160" fmla="*/ 316956 w 607258"/>
                  <a:gd name="connsiteY160" fmla="*/ 233715 h 591409"/>
                  <a:gd name="connsiteX161" fmla="*/ 316956 w 607258"/>
                  <a:gd name="connsiteY161" fmla="*/ 246881 h 591409"/>
                  <a:gd name="connsiteX162" fmla="*/ 305735 w 607258"/>
                  <a:gd name="connsiteY162" fmla="*/ 246134 h 591409"/>
                  <a:gd name="connsiteX163" fmla="*/ 298067 w 607258"/>
                  <a:gd name="connsiteY163" fmla="*/ 246508 h 591409"/>
                  <a:gd name="connsiteX164" fmla="*/ 291334 w 607258"/>
                  <a:gd name="connsiteY164" fmla="*/ 247161 h 591409"/>
                  <a:gd name="connsiteX165" fmla="*/ 291334 w 607258"/>
                  <a:gd name="connsiteY165" fmla="*/ 233529 h 591409"/>
                  <a:gd name="connsiteX166" fmla="*/ 253181 w 607258"/>
                  <a:gd name="connsiteY166" fmla="*/ 233529 h 591409"/>
                  <a:gd name="connsiteX167" fmla="*/ 263654 w 607258"/>
                  <a:gd name="connsiteY167" fmla="*/ 256592 h 591409"/>
                  <a:gd name="connsiteX168" fmla="*/ 256548 w 607258"/>
                  <a:gd name="connsiteY168" fmla="*/ 261074 h 591409"/>
                  <a:gd name="connsiteX169" fmla="*/ 242427 w 607258"/>
                  <a:gd name="connsiteY169" fmla="*/ 271812 h 591409"/>
                  <a:gd name="connsiteX170" fmla="*/ 225969 w 607258"/>
                  <a:gd name="connsiteY170" fmla="*/ 233529 h 591409"/>
                  <a:gd name="connsiteX171" fmla="*/ 192212 w 607258"/>
                  <a:gd name="connsiteY171" fmla="*/ 233529 h 591409"/>
                  <a:gd name="connsiteX172" fmla="*/ 234946 w 607258"/>
                  <a:gd name="connsiteY172" fmla="*/ 279095 h 591409"/>
                  <a:gd name="connsiteX173" fmla="*/ 213345 w 607258"/>
                  <a:gd name="connsiteY173" fmla="*/ 317192 h 591409"/>
                  <a:gd name="connsiteX174" fmla="*/ 132177 w 607258"/>
                  <a:gd name="connsiteY174" fmla="*/ 171715 h 591409"/>
                  <a:gd name="connsiteX175" fmla="*/ 304145 w 607258"/>
                  <a:gd name="connsiteY175" fmla="*/ 0 h 591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</a:cxnLst>
                <a:rect l="l" t="t" r="r" b="b"/>
                <a:pathLst>
                  <a:path w="607258" h="591409">
                    <a:moveTo>
                      <a:pt x="254856" y="462909"/>
                    </a:moveTo>
                    <a:lnTo>
                      <a:pt x="281230" y="545836"/>
                    </a:lnTo>
                    <a:lnTo>
                      <a:pt x="284784" y="557043"/>
                    </a:lnTo>
                    <a:lnTo>
                      <a:pt x="296568" y="523797"/>
                    </a:lnTo>
                    <a:cubicBezTo>
                      <a:pt x="269446" y="486256"/>
                      <a:pt x="298626" y="484388"/>
                      <a:pt x="303676" y="484388"/>
                    </a:cubicBezTo>
                    <a:lnTo>
                      <a:pt x="303769" y="484388"/>
                    </a:lnTo>
                    <a:lnTo>
                      <a:pt x="303863" y="484388"/>
                    </a:lnTo>
                    <a:lnTo>
                      <a:pt x="304050" y="484388"/>
                    </a:lnTo>
                    <a:lnTo>
                      <a:pt x="304144" y="484388"/>
                    </a:lnTo>
                    <a:cubicBezTo>
                      <a:pt x="309287" y="484388"/>
                      <a:pt x="338280" y="486256"/>
                      <a:pt x="311252" y="523797"/>
                    </a:cubicBezTo>
                    <a:lnTo>
                      <a:pt x="322942" y="557043"/>
                    </a:lnTo>
                    <a:lnTo>
                      <a:pt x="326590" y="545836"/>
                    </a:lnTo>
                    <a:lnTo>
                      <a:pt x="352870" y="462909"/>
                    </a:lnTo>
                    <a:cubicBezTo>
                      <a:pt x="352870" y="462909"/>
                      <a:pt x="373352" y="476263"/>
                      <a:pt x="407395" y="489244"/>
                    </a:cubicBezTo>
                    <a:cubicBezTo>
                      <a:pt x="413662" y="491579"/>
                      <a:pt x="418712" y="494287"/>
                      <a:pt x="423014" y="497556"/>
                    </a:cubicBezTo>
                    <a:cubicBezTo>
                      <a:pt x="439942" y="489711"/>
                      <a:pt x="449575" y="483454"/>
                      <a:pt x="449575" y="483454"/>
                    </a:cubicBezTo>
                    <a:lnTo>
                      <a:pt x="471647" y="553214"/>
                    </a:lnTo>
                    <a:lnTo>
                      <a:pt x="474640" y="562646"/>
                    </a:lnTo>
                    <a:lnTo>
                      <a:pt x="484460" y="534630"/>
                    </a:lnTo>
                    <a:cubicBezTo>
                      <a:pt x="461733" y="503065"/>
                      <a:pt x="486237" y="501571"/>
                      <a:pt x="490446" y="501571"/>
                    </a:cubicBezTo>
                    <a:lnTo>
                      <a:pt x="490539" y="501571"/>
                    </a:lnTo>
                    <a:lnTo>
                      <a:pt x="490726" y="501571"/>
                    </a:lnTo>
                    <a:lnTo>
                      <a:pt x="490820" y="501571"/>
                    </a:lnTo>
                    <a:lnTo>
                      <a:pt x="490913" y="501571"/>
                    </a:lnTo>
                    <a:cubicBezTo>
                      <a:pt x="495215" y="501571"/>
                      <a:pt x="519625" y="503065"/>
                      <a:pt x="496899" y="534630"/>
                    </a:cubicBezTo>
                    <a:lnTo>
                      <a:pt x="506813" y="562646"/>
                    </a:lnTo>
                    <a:lnTo>
                      <a:pt x="509805" y="553214"/>
                    </a:lnTo>
                    <a:lnTo>
                      <a:pt x="531877" y="483454"/>
                    </a:lnTo>
                    <a:cubicBezTo>
                      <a:pt x="531877" y="483454"/>
                      <a:pt x="548899" y="494567"/>
                      <a:pt x="577611" y="505493"/>
                    </a:cubicBezTo>
                    <a:cubicBezTo>
                      <a:pt x="609129" y="516980"/>
                      <a:pt x="607165" y="542848"/>
                      <a:pt x="607258" y="591409"/>
                    </a:cubicBezTo>
                    <a:lnTo>
                      <a:pt x="490352" y="591409"/>
                    </a:lnTo>
                    <a:lnTo>
                      <a:pt x="484366" y="591409"/>
                    </a:lnTo>
                    <a:lnTo>
                      <a:pt x="442935" y="591409"/>
                    </a:lnTo>
                    <a:lnTo>
                      <a:pt x="373072" y="591409"/>
                    </a:lnTo>
                    <a:lnTo>
                      <a:pt x="303769" y="591409"/>
                    </a:lnTo>
                    <a:lnTo>
                      <a:pt x="296568" y="591409"/>
                    </a:lnTo>
                    <a:lnTo>
                      <a:pt x="234093" y="591409"/>
                    </a:lnTo>
                    <a:lnTo>
                      <a:pt x="164230" y="591409"/>
                    </a:lnTo>
                    <a:lnTo>
                      <a:pt x="117093" y="591409"/>
                    </a:lnTo>
                    <a:lnTo>
                      <a:pt x="111108" y="591409"/>
                    </a:lnTo>
                    <a:lnTo>
                      <a:pt x="0" y="591409"/>
                    </a:lnTo>
                    <a:cubicBezTo>
                      <a:pt x="655" y="542848"/>
                      <a:pt x="-1403" y="516980"/>
                      <a:pt x="30208" y="505493"/>
                    </a:cubicBezTo>
                    <a:cubicBezTo>
                      <a:pt x="58734" y="494661"/>
                      <a:pt x="75942" y="483454"/>
                      <a:pt x="75942" y="483454"/>
                    </a:cubicBezTo>
                    <a:lnTo>
                      <a:pt x="98014" y="553214"/>
                    </a:lnTo>
                    <a:lnTo>
                      <a:pt x="101007" y="562646"/>
                    </a:lnTo>
                    <a:lnTo>
                      <a:pt x="110827" y="534630"/>
                    </a:lnTo>
                    <a:cubicBezTo>
                      <a:pt x="88194" y="503065"/>
                      <a:pt x="112604" y="501571"/>
                      <a:pt x="116813" y="501571"/>
                    </a:cubicBezTo>
                    <a:lnTo>
                      <a:pt x="117000" y="501571"/>
                    </a:lnTo>
                    <a:lnTo>
                      <a:pt x="117093" y="501571"/>
                    </a:lnTo>
                    <a:lnTo>
                      <a:pt x="117187" y="501571"/>
                    </a:lnTo>
                    <a:lnTo>
                      <a:pt x="117374" y="501571"/>
                    </a:lnTo>
                    <a:cubicBezTo>
                      <a:pt x="121583" y="501571"/>
                      <a:pt x="145993" y="503065"/>
                      <a:pt x="123360" y="534630"/>
                    </a:cubicBezTo>
                    <a:lnTo>
                      <a:pt x="133180" y="562646"/>
                    </a:lnTo>
                    <a:lnTo>
                      <a:pt x="136172" y="553214"/>
                    </a:lnTo>
                    <a:lnTo>
                      <a:pt x="158244" y="483454"/>
                    </a:lnTo>
                    <a:cubicBezTo>
                      <a:pt x="158244" y="483454"/>
                      <a:pt x="167877" y="489804"/>
                      <a:pt x="184806" y="497556"/>
                    </a:cubicBezTo>
                    <a:cubicBezTo>
                      <a:pt x="189014" y="494194"/>
                      <a:pt x="194158" y="491485"/>
                      <a:pt x="200424" y="489244"/>
                    </a:cubicBezTo>
                    <a:cubicBezTo>
                      <a:pt x="234467" y="476263"/>
                      <a:pt x="254856" y="462909"/>
                      <a:pt x="254856" y="462909"/>
                    </a:cubicBezTo>
                    <a:close/>
                    <a:moveTo>
                      <a:pt x="486780" y="322405"/>
                    </a:moveTo>
                    <a:cubicBezTo>
                      <a:pt x="499780" y="321284"/>
                      <a:pt x="509601" y="324553"/>
                      <a:pt x="516615" y="328662"/>
                    </a:cubicBezTo>
                    <a:cubicBezTo>
                      <a:pt x="527090" y="334546"/>
                      <a:pt x="531112" y="342111"/>
                      <a:pt x="531112" y="342111"/>
                    </a:cubicBezTo>
                    <a:cubicBezTo>
                      <a:pt x="531112" y="342111"/>
                      <a:pt x="555148" y="343699"/>
                      <a:pt x="547012" y="392546"/>
                    </a:cubicBezTo>
                    <a:cubicBezTo>
                      <a:pt x="546544" y="395067"/>
                      <a:pt x="545796" y="397682"/>
                      <a:pt x="544954" y="400297"/>
                    </a:cubicBezTo>
                    <a:cubicBezTo>
                      <a:pt x="549630" y="399737"/>
                      <a:pt x="555429" y="402632"/>
                      <a:pt x="550004" y="421405"/>
                    </a:cubicBezTo>
                    <a:cubicBezTo>
                      <a:pt x="546170" y="435134"/>
                      <a:pt x="542522" y="438964"/>
                      <a:pt x="539810" y="439244"/>
                    </a:cubicBezTo>
                    <a:cubicBezTo>
                      <a:pt x="537285" y="455588"/>
                      <a:pt x="524191" y="476322"/>
                      <a:pt x="503802" y="483700"/>
                    </a:cubicBezTo>
                    <a:cubicBezTo>
                      <a:pt x="495197" y="486689"/>
                      <a:pt x="485845" y="486689"/>
                      <a:pt x="477334" y="483700"/>
                    </a:cubicBezTo>
                    <a:cubicBezTo>
                      <a:pt x="456664" y="476509"/>
                      <a:pt x="443944" y="455681"/>
                      <a:pt x="441419" y="439244"/>
                    </a:cubicBezTo>
                    <a:cubicBezTo>
                      <a:pt x="438707" y="439150"/>
                      <a:pt x="435059" y="435228"/>
                      <a:pt x="431225" y="421405"/>
                    </a:cubicBezTo>
                    <a:cubicBezTo>
                      <a:pt x="425800" y="402632"/>
                      <a:pt x="431412" y="399737"/>
                      <a:pt x="436275" y="400297"/>
                    </a:cubicBezTo>
                    <a:cubicBezTo>
                      <a:pt x="435340" y="397682"/>
                      <a:pt x="434685" y="395161"/>
                      <a:pt x="434217" y="392546"/>
                    </a:cubicBezTo>
                    <a:cubicBezTo>
                      <a:pt x="432440" y="383860"/>
                      <a:pt x="431973" y="375641"/>
                      <a:pt x="434030" y="367795"/>
                    </a:cubicBezTo>
                    <a:cubicBezTo>
                      <a:pt x="436462" y="357335"/>
                      <a:pt x="442167" y="348836"/>
                      <a:pt x="448527" y="342392"/>
                    </a:cubicBezTo>
                    <a:cubicBezTo>
                      <a:pt x="452642" y="338095"/>
                      <a:pt x="457132" y="334360"/>
                      <a:pt x="461995" y="331277"/>
                    </a:cubicBezTo>
                    <a:cubicBezTo>
                      <a:pt x="466017" y="328569"/>
                      <a:pt x="470319" y="326141"/>
                      <a:pt x="475089" y="324553"/>
                    </a:cubicBezTo>
                    <a:cubicBezTo>
                      <a:pt x="478830" y="323152"/>
                      <a:pt x="482852" y="322405"/>
                      <a:pt x="486780" y="322405"/>
                    </a:cubicBezTo>
                    <a:close/>
                    <a:moveTo>
                      <a:pt x="113711" y="322405"/>
                    </a:moveTo>
                    <a:cubicBezTo>
                      <a:pt x="126714" y="321284"/>
                      <a:pt x="136536" y="324553"/>
                      <a:pt x="143552" y="328662"/>
                    </a:cubicBezTo>
                    <a:cubicBezTo>
                      <a:pt x="154029" y="334546"/>
                      <a:pt x="157958" y="342111"/>
                      <a:pt x="157958" y="342111"/>
                    </a:cubicBezTo>
                    <a:cubicBezTo>
                      <a:pt x="157958" y="342111"/>
                      <a:pt x="182092" y="343699"/>
                      <a:pt x="173954" y="392546"/>
                    </a:cubicBezTo>
                    <a:cubicBezTo>
                      <a:pt x="173486" y="395067"/>
                      <a:pt x="172738" y="397682"/>
                      <a:pt x="171802" y="400297"/>
                    </a:cubicBezTo>
                    <a:cubicBezTo>
                      <a:pt x="176573" y="399737"/>
                      <a:pt x="182279" y="402632"/>
                      <a:pt x="176947" y="421405"/>
                    </a:cubicBezTo>
                    <a:cubicBezTo>
                      <a:pt x="173112" y="435134"/>
                      <a:pt x="169464" y="438964"/>
                      <a:pt x="166751" y="439244"/>
                    </a:cubicBezTo>
                    <a:cubicBezTo>
                      <a:pt x="164225" y="455588"/>
                      <a:pt x="151129" y="476322"/>
                      <a:pt x="130643" y="483700"/>
                    </a:cubicBezTo>
                    <a:cubicBezTo>
                      <a:pt x="122037" y="486689"/>
                      <a:pt x="112682" y="486689"/>
                      <a:pt x="104264" y="483700"/>
                    </a:cubicBezTo>
                    <a:cubicBezTo>
                      <a:pt x="83497" y="476509"/>
                      <a:pt x="70775" y="455681"/>
                      <a:pt x="68343" y="439244"/>
                    </a:cubicBezTo>
                    <a:cubicBezTo>
                      <a:pt x="65536" y="438964"/>
                      <a:pt x="61982" y="435134"/>
                      <a:pt x="58053" y="421592"/>
                    </a:cubicBezTo>
                    <a:cubicBezTo>
                      <a:pt x="52721" y="402726"/>
                      <a:pt x="58427" y="399924"/>
                      <a:pt x="63198" y="400391"/>
                    </a:cubicBezTo>
                    <a:cubicBezTo>
                      <a:pt x="62169" y="397776"/>
                      <a:pt x="61608" y="395254"/>
                      <a:pt x="61046" y="392639"/>
                    </a:cubicBezTo>
                    <a:cubicBezTo>
                      <a:pt x="59363" y="383953"/>
                      <a:pt x="58801" y="375734"/>
                      <a:pt x="60953" y="367889"/>
                    </a:cubicBezTo>
                    <a:cubicBezTo>
                      <a:pt x="63291" y="357428"/>
                      <a:pt x="69091" y="348929"/>
                      <a:pt x="75452" y="342485"/>
                    </a:cubicBezTo>
                    <a:cubicBezTo>
                      <a:pt x="79568" y="338282"/>
                      <a:pt x="84058" y="334546"/>
                      <a:pt x="88922" y="331371"/>
                    </a:cubicBezTo>
                    <a:cubicBezTo>
                      <a:pt x="92758" y="328662"/>
                      <a:pt x="97154" y="326327"/>
                      <a:pt x="101831" y="324646"/>
                    </a:cubicBezTo>
                    <a:cubicBezTo>
                      <a:pt x="105573" y="323432"/>
                      <a:pt x="109502" y="322685"/>
                      <a:pt x="113711" y="322405"/>
                    </a:cubicBezTo>
                    <a:close/>
                    <a:moveTo>
                      <a:pt x="299632" y="270867"/>
                    </a:moveTo>
                    <a:cubicBezTo>
                      <a:pt x="314973" y="269560"/>
                      <a:pt x="326666" y="273389"/>
                      <a:pt x="335085" y="278338"/>
                    </a:cubicBezTo>
                    <a:cubicBezTo>
                      <a:pt x="347527" y="285342"/>
                      <a:pt x="352298" y="294401"/>
                      <a:pt x="352298" y="294401"/>
                    </a:cubicBezTo>
                    <a:cubicBezTo>
                      <a:pt x="352298" y="294401"/>
                      <a:pt x="380922" y="296455"/>
                      <a:pt x="371194" y="354447"/>
                    </a:cubicBezTo>
                    <a:cubicBezTo>
                      <a:pt x="370632" y="357436"/>
                      <a:pt x="369884" y="360517"/>
                      <a:pt x="368761" y="363693"/>
                    </a:cubicBezTo>
                    <a:cubicBezTo>
                      <a:pt x="374468" y="363039"/>
                      <a:pt x="381203" y="366401"/>
                      <a:pt x="374842" y="388813"/>
                    </a:cubicBezTo>
                    <a:cubicBezTo>
                      <a:pt x="370258" y="405249"/>
                      <a:pt x="365862" y="409825"/>
                      <a:pt x="362588" y="410105"/>
                    </a:cubicBezTo>
                    <a:cubicBezTo>
                      <a:pt x="359594" y="429529"/>
                      <a:pt x="344066" y="454276"/>
                      <a:pt x="319744" y="463055"/>
                    </a:cubicBezTo>
                    <a:cubicBezTo>
                      <a:pt x="309641" y="466790"/>
                      <a:pt x="298416" y="466790"/>
                      <a:pt x="288313" y="463148"/>
                    </a:cubicBezTo>
                    <a:cubicBezTo>
                      <a:pt x="263617" y="454557"/>
                      <a:pt x="248462" y="429809"/>
                      <a:pt x="245469" y="410199"/>
                    </a:cubicBezTo>
                    <a:cubicBezTo>
                      <a:pt x="242288" y="409825"/>
                      <a:pt x="237892" y="405342"/>
                      <a:pt x="233308" y="388907"/>
                    </a:cubicBezTo>
                    <a:cubicBezTo>
                      <a:pt x="226947" y="366494"/>
                      <a:pt x="233682" y="363319"/>
                      <a:pt x="239482" y="363786"/>
                    </a:cubicBezTo>
                    <a:cubicBezTo>
                      <a:pt x="238360" y="360704"/>
                      <a:pt x="237518" y="357716"/>
                      <a:pt x="237050" y="354541"/>
                    </a:cubicBezTo>
                    <a:cubicBezTo>
                      <a:pt x="234992" y="344082"/>
                      <a:pt x="234431" y="334370"/>
                      <a:pt x="236863" y="325031"/>
                    </a:cubicBezTo>
                    <a:cubicBezTo>
                      <a:pt x="239763" y="312517"/>
                      <a:pt x="246498" y="302525"/>
                      <a:pt x="254075" y="294774"/>
                    </a:cubicBezTo>
                    <a:cubicBezTo>
                      <a:pt x="258846" y="289731"/>
                      <a:pt x="264365" y="285249"/>
                      <a:pt x="270071" y="281607"/>
                    </a:cubicBezTo>
                    <a:cubicBezTo>
                      <a:pt x="274655" y="278338"/>
                      <a:pt x="279894" y="275537"/>
                      <a:pt x="285506" y="273669"/>
                    </a:cubicBezTo>
                    <a:cubicBezTo>
                      <a:pt x="289903" y="272175"/>
                      <a:pt x="294674" y="271148"/>
                      <a:pt x="299632" y="270867"/>
                    </a:cubicBezTo>
                    <a:close/>
                    <a:moveTo>
                      <a:pt x="246074" y="135486"/>
                    </a:moveTo>
                    <a:cubicBezTo>
                      <a:pt x="243923" y="146504"/>
                      <a:pt x="242708" y="158643"/>
                      <a:pt x="242708" y="171715"/>
                    </a:cubicBezTo>
                    <a:cubicBezTo>
                      <a:pt x="242708" y="184787"/>
                      <a:pt x="244017" y="196833"/>
                      <a:pt x="246168" y="207944"/>
                    </a:cubicBezTo>
                    <a:lnTo>
                      <a:pt x="291334" y="207944"/>
                    </a:lnTo>
                    <a:lnTo>
                      <a:pt x="291334" y="135486"/>
                    </a:lnTo>
                    <a:close/>
                    <a:moveTo>
                      <a:pt x="388399" y="135299"/>
                    </a:moveTo>
                    <a:cubicBezTo>
                      <a:pt x="390269" y="146504"/>
                      <a:pt x="391391" y="158643"/>
                      <a:pt x="391391" y="171528"/>
                    </a:cubicBezTo>
                    <a:cubicBezTo>
                      <a:pt x="391391" y="184507"/>
                      <a:pt x="390269" y="196459"/>
                      <a:pt x="388399" y="207757"/>
                    </a:cubicBezTo>
                    <a:lnTo>
                      <a:pt x="426926" y="207757"/>
                    </a:lnTo>
                    <a:cubicBezTo>
                      <a:pt x="430292" y="196366"/>
                      <a:pt x="432162" y="184134"/>
                      <a:pt x="432162" y="171528"/>
                    </a:cubicBezTo>
                    <a:cubicBezTo>
                      <a:pt x="432162" y="159016"/>
                      <a:pt x="430292" y="146784"/>
                      <a:pt x="426926" y="135299"/>
                    </a:cubicBezTo>
                    <a:close/>
                    <a:moveTo>
                      <a:pt x="316956" y="135299"/>
                    </a:moveTo>
                    <a:lnTo>
                      <a:pt x="316956" y="207757"/>
                    </a:lnTo>
                    <a:lnTo>
                      <a:pt x="362216" y="207757"/>
                    </a:lnTo>
                    <a:cubicBezTo>
                      <a:pt x="364367" y="196739"/>
                      <a:pt x="365582" y="184601"/>
                      <a:pt x="365582" y="171528"/>
                    </a:cubicBezTo>
                    <a:cubicBezTo>
                      <a:pt x="365582" y="158456"/>
                      <a:pt x="364273" y="146411"/>
                      <a:pt x="362122" y="135299"/>
                    </a:cubicBezTo>
                    <a:close/>
                    <a:moveTo>
                      <a:pt x="181177" y="135299"/>
                    </a:moveTo>
                    <a:cubicBezTo>
                      <a:pt x="177811" y="146784"/>
                      <a:pt x="175940" y="159016"/>
                      <a:pt x="175940" y="171528"/>
                    </a:cubicBezTo>
                    <a:cubicBezTo>
                      <a:pt x="175940" y="184134"/>
                      <a:pt x="177811" y="196366"/>
                      <a:pt x="181177" y="207757"/>
                    </a:cubicBezTo>
                    <a:lnTo>
                      <a:pt x="219704" y="207757"/>
                    </a:lnTo>
                    <a:cubicBezTo>
                      <a:pt x="217834" y="196553"/>
                      <a:pt x="216712" y="184507"/>
                      <a:pt x="216712" y="171528"/>
                    </a:cubicBezTo>
                    <a:cubicBezTo>
                      <a:pt x="216712" y="158643"/>
                      <a:pt x="217834" y="146691"/>
                      <a:pt x="219704" y="135299"/>
                    </a:cubicBezTo>
                    <a:close/>
                    <a:moveTo>
                      <a:pt x="253368" y="54157"/>
                    </a:moveTo>
                    <a:cubicBezTo>
                      <a:pt x="227372" y="65362"/>
                      <a:pt x="205771" y="85064"/>
                      <a:pt x="192024" y="109715"/>
                    </a:cubicBezTo>
                    <a:lnTo>
                      <a:pt x="225876" y="109715"/>
                    </a:lnTo>
                    <a:cubicBezTo>
                      <a:pt x="232796" y="87118"/>
                      <a:pt x="242895" y="68723"/>
                      <a:pt x="253368" y="54157"/>
                    </a:cubicBezTo>
                    <a:close/>
                    <a:moveTo>
                      <a:pt x="354922" y="54064"/>
                    </a:moveTo>
                    <a:cubicBezTo>
                      <a:pt x="365395" y="68630"/>
                      <a:pt x="375494" y="87025"/>
                      <a:pt x="382414" y="109528"/>
                    </a:cubicBezTo>
                    <a:lnTo>
                      <a:pt x="416266" y="109528"/>
                    </a:lnTo>
                    <a:cubicBezTo>
                      <a:pt x="402519" y="85064"/>
                      <a:pt x="380918" y="65362"/>
                      <a:pt x="354922" y="54064"/>
                    </a:cubicBezTo>
                    <a:close/>
                    <a:moveTo>
                      <a:pt x="316956" y="49301"/>
                    </a:moveTo>
                    <a:lnTo>
                      <a:pt x="316956" y="109715"/>
                    </a:lnTo>
                    <a:lnTo>
                      <a:pt x="355109" y="109715"/>
                    </a:lnTo>
                    <a:cubicBezTo>
                      <a:pt x="344916" y="81702"/>
                      <a:pt x="329487" y="61907"/>
                      <a:pt x="316956" y="49301"/>
                    </a:cubicBezTo>
                    <a:close/>
                    <a:moveTo>
                      <a:pt x="291334" y="49021"/>
                    </a:moveTo>
                    <a:cubicBezTo>
                      <a:pt x="278803" y="61534"/>
                      <a:pt x="263093" y="81422"/>
                      <a:pt x="252994" y="109528"/>
                    </a:cubicBezTo>
                    <a:lnTo>
                      <a:pt x="291334" y="109528"/>
                    </a:lnTo>
                    <a:close/>
                    <a:moveTo>
                      <a:pt x="304145" y="0"/>
                    </a:moveTo>
                    <a:cubicBezTo>
                      <a:pt x="399059" y="0"/>
                      <a:pt x="476113" y="77034"/>
                      <a:pt x="476113" y="171715"/>
                    </a:cubicBezTo>
                    <a:cubicBezTo>
                      <a:pt x="476113" y="232315"/>
                      <a:pt x="444413" y="285725"/>
                      <a:pt x="396628" y="316258"/>
                    </a:cubicBezTo>
                    <a:cubicBezTo>
                      <a:pt x="394664" y="304680"/>
                      <a:pt x="390643" y="294969"/>
                      <a:pt x="384565" y="287219"/>
                    </a:cubicBezTo>
                    <a:cubicBezTo>
                      <a:pt x="381573" y="283484"/>
                      <a:pt x="378300" y="280496"/>
                      <a:pt x="374933" y="277975"/>
                    </a:cubicBezTo>
                    <a:cubicBezTo>
                      <a:pt x="392046" y="266677"/>
                      <a:pt x="406166" y="251457"/>
                      <a:pt x="416078" y="233529"/>
                    </a:cubicBezTo>
                    <a:lnTo>
                      <a:pt x="382321" y="233529"/>
                    </a:lnTo>
                    <a:cubicBezTo>
                      <a:pt x="377926" y="247908"/>
                      <a:pt x="372222" y="260607"/>
                      <a:pt x="365956" y="271625"/>
                    </a:cubicBezTo>
                    <a:cubicBezTo>
                      <a:pt x="361748" y="267050"/>
                      <a:pt x="355670" y="261728"/>
                      <a:pt x="347441" y="257059"/>
                    </a:cubicBezTo>
                    <a:cubicBezTo>
                      <a:pt x="346693" y="256685"/>
                      <a:pt x="346038" y="256312"/>
                      <a:pt x="345290" y="255938"/>
                    </a:cubicBezTo>
                    <a:cubicBezTo>
                      <a:pt x="348937" y="249216"/>
                      <a:pt x="352397" y="241746"/>
                      <a:pt x="355296" y="233715"/>
                    </a:cubicBezTo>
                    <a:lnTo>
                      <a:pt x="316956" y="233715"/>
                    </a:lnTo>
                    <a:lnTo>
                      <a:pt x="316956" y="246881"/>
                    </a:lnTo>
                    <a:cubicBezTo>
                      <a:pt x="313403" y="246414"/>
                      <a:pt x="309662" y="246134"/>
                      <a:pt x="305735" y="246134"/>
                    </a:cubicBezTo>
                    <a:cubicBezTo>
                      <a:pt x="303303" y="246134"/>
                      <a:pt x="300685" y="246228"/>
                      <a:pt x="298067" y="246508"/>
                    </a:cubicBezTo>
                    <a:cubicBezTo>
                      <a:pt x="295822" y="246508"/>
                      <a:pt x="293578" y="246788"/>
                      <a:pt x="291334" y="247161"/>
                    </a:cubicBezTo>
                    <a:lnTo>
                      <a:pt x="291334" y="233529"/>
                    </a:lnTo>
                    <a:lnTo>
                      <a:pt x="253181" y="233529"/>
                    </a:lnTo>
                    <a:cubicBezTo>
                      <a:pt x="256267" y="241932"/>
                      <a:pt x="259727" y="249589"/>
                      <a:pt x="263654" y="256592"/>
                    </a:cubicBezTo>
                    <a:cubicBezTo>
                      <a:pt x="261223" y="257993"/>
                      <a:pt x="258885" y="259487"/>
                      <a:pt x="256548" y="261074"/>
                    </a:cubicBezTo>
                    <a:cubicBezTo>
                      <a:pt x="251498" y="264155"/>
                      <a:pt x="246822" y="267797"/>
                      <a:pt x="242427" y="271812"/>
                    </a:cubicBezTo>
                    <a:cubicBezTo>
                      <a:pt x="236162" y="260701"/>
                      <a:pt x="230458" y="248002"/>
                      <a:pt x="225969" y="233529"/>
                    </a:cubicBezTo>
                    <a:lnTo>
                      <a:pt x="192212" y="233529"/>
                    </a:lnTo>
                    <a:cubicBezTo>
                      <a:pt x="202404" y="252017"/>
                      <a:pt x="217273" y="267704"/>
                      <a:pt x="234946" y="279095"/>
                    </a:cubicBezTo>
                    <a:cubicBezTo>
                      <a:pt x="224380" y="290487"/>
                      <a:pt x="216992" y="303279"/>
                      <a:pt x="213345" y="317192"/>
                    </a:cubicBezTo>
                    <a:cubicBezTo>
                      <a:pt x="164719" y="286939"/>
                      <a:pt x="132177" y="232968"/>
                      <a:pt x="132177" y="171715"/>
                    </a:cubicBezTo>
                    <a:cubicBezTo>
                      <a:pt x="132177" y="76940"/>
                      <a:pt x="209418" y="0"/>
                      <a:pt x="30414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cxnSp>
          <p:nvCxnSpPr>
            <p:cNvPr id="13" name="连接符: 肘形 12">
              <a:extLst>
                <a:ext uri="{FF2B5EF4-FFF2-40B4-BE49-F238E27FC236}">
                  <a16:creationId xmlns:a16="http://schemas.microsoft.com/office/drawing/2014/main" id="{7468AB97-A9CF-47E6-AEE5-AE4743EA0F0D}"/>
                </a:ext>
              </a:extLst>
            </p:cNvPr>
            <p:cNvCxnSpPr>
              <a:cxnSpLocks/>
              <a:stCxn id="17" idx="0"/>
              <a:endCxn id="39" idx="6"/>
            </p:cNvCxnSpPr>
            <p:nvPr/>
          </p:nvCxnSpPr>
          <p:spPr>
            <a:xfrm rot="16200000" flipV="1">
              <a:off x="4799175" y="1833824"/>
              <a:ext cx="939531" cy="1664345"/>
            </a:xfrm>
            <a:prstGeom prst="bentConnector2">
              <a:avLst/>
            </a:prstGeom>
            <a:ln w="3175" cap="rnd">
              <a:solidFill>
                <a:schemeClr val="accent1"/>
              </a:solidFill>
              <a:prstDash val="dash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连接符: 肘形 13">
              <a:extLst>
                <a:ext uri="{FF2B5EF4-FFF2-40B4-BE49-F238E27FC236}">
                  <a16:creationId xmlns:a16="http://schemas.microsoft.com/office/drawing/2014/main" id="{DB574883-7118-4EEC-AB23-5109F9CCEC35}"/>
                </a:ext>
              </a:extLst>
            </p:cNvPr>
            <p:cNvCxnSpPr>
              <a:cxnSpLocks/>
              <a:stCxn id="17" idx="0"/>
              <a:endCxn id="37" idx="2"/>
            </p:cNvCxnSpPr>
            <p:nvPr/>
          </p:nvCxnSpPr>
          <p:spPr>
            <a:xfrm rot="5400000" flipH="1" flipV="1">
              <a:off x="6458407" y="1838937"/>
              <a:ext cx="939531" cy="1654121"/>
            </a:xfrm>
            <a:prstGeom prst="bentConnector2">
              <a:avLst/>
            </a:prstGeom>
            <a:ln w="3175" cap="rnd">
              <a:solidFill>
                <a:schemeClr val="accent1"/>
              </a:solidFill>
              <a:prstDash val="dash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连接符: 肘形 14">
              <a:extLst>
                <a:ext uri="{FF2B5EF4-FFF2-40B4-BE49-F238E27FC236}">
                  <a16:creationId xmlns:a16="http://schemas.microsoft.com/office/drawing/2014/main" id="{B7F91AB7-01C6-4BD1-884E-DD1919977B8F}"/>
                </a:ext>
              </a:extLst>
            </p:cNvPr>
            <p:cNvCxnSpPr>
              <a:stCxn id="17" idx="4"/>
              <a:endCxn id="35" idx="6"/>
            </p:cNvCxnSpPr>
            <p:nvPr/>
          </p:nvCxnSpPr>
          <p:spPr>
            <a:xfrm rot="5400000">
              <a:off x="4668677" y="3726451"/>
              <a:ext cx="1200527" cy="1664345"/>
            </a:xfrm>
            <a:prstGeom prst="bentConnector2">
              <a:avLst/>
            </a:prstGeom>
            <a:ln w="3175" cap="rnd">
              <a:solidFill>
                <a:schemeClr val="accent1"/>
              </a:solidFill>
              <a:prstDash val="dash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连接符: 肘形 15">
              <a:extLst>
                <a:ext uri="{FF2B5EF4-FFF2-40B4-BE49-F238E27FC236}">
                  <a16:creationId xmlns:a16="http://schemas.microsoft.com/office/drawing/2014/main" id="{D91EA950-26D7-4830-B528-9014C069C7A2}"/>
                </a:ext>
              </a:extLst>
            </p:cNvPr>
            <p:cNvCxnSpPr>
              <a:cxnSpLocks/>
              <a:stCxn id="17" idx="4"/>
              <a:endCxn id="33" idx="2"/>
            </p:cNvCxnSpPr>
            <p:nvPr/>
          </p:nvCxnSpPr>
          <p:spPr>
            <a:xfrm rot="16200000" flipH="1">
              <a:off x="6327909" y="3731562"/>
              <a:ext cx="1200527" cy="1654121"/>
            </a:xfrm>
            <a:prstGeom prst="bentConnector2">
              <a:avLst/>
            </a:prstGeom>
            <a:ln w="3175" cap="rnd">
              <a:solidFill>
                <a:schemeClr val="accent1"/>
              </a:solidFill>
              <a:prstDash val="dash"/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0A44E3DF-417F-4EA7-A028-25F0A5DBA1B5}"/>
                </a:ext>
              </a:extLst>
            </p:cNvPr>
            <p:cNvSpPr/>
            <p:nvPr/>
          </p:nvSpPr>
          <p:spPr>
            <a:xfrm>
              <a:off x="5689812" y="3135762"/>
              <a:ext cx="822599" cy="82259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>
                  <a:solidFill>
                    <a:schemeClr val="tx1"/>
                  </a:solidFill>
                </a:rPr>
                <a:t>T</a:t>
              </a:r>
              <a:r>
                <a:rPr lang="en-US" altLang="zh-CN" sz="100" b="1">
                  <a:solidFill>
                    <a:schemeClr val="tx1"/>
                  </a:solidFill>
                </a:rPr>
                <a:t> </a:t>
              </a:r>
              <a:r>
                <a:rPr lang="en-US" altLang="zh-CN" sz="1400" b="1">
                  <a:solidFill>
                    <a:schemeClr val="tx1"/>
                  </a:solidFill>
                </a:rPr>
                <a:t>ext</a:t>
              </a:r>
              <a:endParaRPr sz="1400" b="1" dirty="0">
                <a:solidFill>
                  <a:schemeClr val="tx1"/>
                </a:solidFill>
              </a:endParaRPr>
            </a:p>
          </p:txBody>
        </p: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5A939EA5-771D-4E47-9DFD-A17D975993CD}"/>
                </a:ext>
              </a:extLst>
            </p:cNvPr>
            <p:cNvGrpSpPr/>
            <p:nvPr/>
          </p:nvGrpSpPr>
          <p:grpSpPr>
            <a:xfrm>
              <a:off x="8577830" y="1673229"/>
              <a:ext cx="2578029" cy="1046002"/>
              <a:chOff x="3032743" y="3092870"/>
              <a:chExt cx="2578029" cy="1046002"/>
            </a:xfrm>
          </p:grpSpPr>
          <p:sp>
            <p:nvSpPr>
              <p:cNvPr id="31" name="文本框 30">
                <a:extLst>
                  <a:ext uri="{FF2B5EF4-FFF2-40B4-BE49-F238E27FC236}">
                    <a16:creationId xmlns:a16="http://schemas.microsoft.com/office/drawing/2014/main" id="{1F46C77C-9AB4-4DD7-84C0-19F1BC667331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</a:t>
                </a:r>
                <a:r>
                  <a:rPr lang="en-US" altLang="zh-CN" sz="1100"/>
                  <a:t>Choose the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only option to retain </a:t>
                </a:r>
                <a:r>
                  <a:rPr lang="en-US" altLang="zh-CN" sz="1100"/>
                  <a:t>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id="{18119D48-8C9F-4B31-93E0-997F22CDE8F1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综述</a:t>
                </a: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C7A77BEB-4FAF-4F14-A2EA-FACFA5FC5A2E}"/>
                </a:ext>
              </a:extLst>
            </p:cNvPr>
            <p:cNvGrpSpPr/>
            <p:nvPr/>
          </p:nvGrpSpPr>
          <p:grpSpPr>
            <a:xfrm>
              <a:off x="8577830" y="4557868"/>
              <a:ext cx="2578029" cy="1046002"/>
              <a:chOff x="3032743" y="3092870"/>
              <a:chExt cx="2578029" cy="1046002"/>
            </a:xfrm>
          </p:grpSpPr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9004A849-518A-46D5-A2BA-597D298EE6C6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</a:t>
                </a:r>
                <a:r>
                  <a:rPr lang="en-US" altLang="zh-CN" sz="1100"/>
                  <a:t>Choose the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only option to retain </a:t>
                </a:r>
                <a:r>
                  <a:rPr lang="en-US" altLang="zh-CN" sz="1100"/>
                  <a:t>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9B05DB2F-A60C-4474-9C69-B0B11D29BD6F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综述</a:t>
                </a: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78DA045A-D850-4B63-A0D3-C3D344A082C8}"/>
                </a:ext>
              </a:extLst>
            </p:cNvPr>
            <p:cNvGrpSpPr/>
            <p:nvPr/>
          </p:nvGrpSpPr>
          <p:grpSpPr>
            <a:xfrm>
              <a:off x="878808" y="1673229"/>
              <a:ext cx="2578029" cy="1046002"/>
              <a:chOff x="3032743" y="3092870"/>
              <a:chExt cx="2578029" cy="1046002"/>
            </a:xfrm>
          </p:grpSpPr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61F41E04-7AE5-4898-999B-3D8E8FC5E1C5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</a:t>
                </a:r>
                <a:r>
                  <a:rPr lang="en-US" altLang="zh-CN" sz="1100"/>
                  <a:t>Choose the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only option to retain </a:t>
                </a:r>
                <a:r>
                  <a:rPr lang="en-US" altLang="zh-CN" sz="1100"/>
                  <a:t>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45190348-0AA3-4F9F-829E-CFC0DE1A05A8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综述</a:t>
                </a: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B02BF2B6-EAE6-4C74-8BDE-0E44D6993C1B}"/>
                </a:ext>
              </a:extLst>
            </p:cNvPr>
            <p:cNvGrpSpPr/>
            <p:nvPr/>
          </p:nvGrpSpPr>
          <p:grpSpPr>
            <a:xfrm>
              <a:off x="878808" y="4557868"/>
              <a:ext cx="2578029" cy="1046002"/>
              <a:chOff x="3032743" y="3092870"/>
              <a:chExt cx="2578029" cy="1046002"/>
            </a:xfrm>
          </p:grpSpPr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BA0DA5CF-2B51-4CD4-8C81-F9DD801441D9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</a:t>
                </a:r>
                <a:r>
                  <a:rPr lang="en-US" altLang="zh-CN" sz="1100"/>
                  <a:t>Choose the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only option to retain </a:t>
                </a:r>
                <a:r>
                  <a:rPr lang="en-US" altLang="zh-CN" sz="1100"/>
                  <a:t>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7ED1CF15-5ABC-4120-B909-B0967A0407B5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综述</a:t>
                </a: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63666A25-10C5-4711-BAC4-0469ACAF8F40}"/>
                </a:ext>
              </a:extLst>
            </p:cNvPr>
            <p:cNvGrpSpPr/>
            <p:nvPr/>
          </p:nvGrpSpPr>
          <p:grpSpPr>
            <a:xfrm>
              <a:off x="5832896" y="2926080"/>
              <a:ext cx="515524" cy="515522"/>
              <a:chOff x="7041548" y="3135762"/>
              <a:chExt cx="822599" cy="822598"/>
            </a:xfrm>
          </p:grpSpPr>
          <p:sp>
            <p:nvSpPr>
              <p:cNvPr id="23" name="椭圆 22">
                <a:extLst>
                  <a:ext uri="{FF2B5EF4-FFF2-40B4-BE49-F238E27FC236}">
                    <a16:creationId xmlns:a16="http://schemas.microsoft.com/office/drawing/2014/main" id="{756F6ACB-4ADD-4407-9858-BB60741D92EB}"/>
                  </a:ext>
                </a:extLst>
              </p:cNvPr>
              <p:cNvSpPr/>
              <p:nvPr/>
            </p:nvSpPr>
            <p:spPr>
              <a:xfrm>
                <a:off x="7041548" y="3135762"/>
                <a:ext cx="822599" cy="822598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  <a:prstDash val="solid"/>
                <a:miter lim="800000"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dirty="0"/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23B628B4-9790-4C07-BE45-84769C5A3D3C}"/>
                  </a:ext>
                </a:extLst>
              </p:cNvPr>
              <p:cNvSpPr/>
              <p:nvPr/>
            </p:nvSpPr>
            <p:spPr bwMode="auto">
              <a:xfrm>
                <a:off x="7198878" y="3293478"/>
                <a:ext cx="507938" cy="507166"/>
              </a:xfrm>
              <a:custGeom>
                <a:avLst/>
                <a:gdLst>
                  <a:gd name="connsiteX0" fmla="*/ 297030 w 605804"/>
                  <a:gd name="connsiteY0" fmla="*/ 116311 h 604886"/>
                  <a:gd name="connsiteX1" fmla="*/ 345126 w 605804"/>
                  <a:gd name="connsiteY1" fmla="*/ 126417 h 604886"/>
                  <a:gd name="connsiteX2" fmla="*/ 368711 w 605804"/>
                  <a:gd name="connsiteY2" fmla="*/ 148205 h 604886"/>
                  <a:gd name="connsiteX3" fmla="*/ 394430 w 605804"/>
                  <a:gd name="connsiteY3" fmla="*/ 229979 h 604886"/>
                  <a:gd name="connsiteX4" fmla="*/ 391088 w 605804"/>
                  <a:gd name="connsiteY4" fmla="*/ 242588 h 604886"/>
                  <a:gd name="connsiteX5" fmla="*/ 399351 w 605804"/>
                  <a:gd name="connsiteY5" fmla="*/ 276985 h 604886"/>
                  <a:gd name="connsiteX6" fmla="*/ 382638 w 605804"/>
                  <a:gd name="connsiteY6" fmla="*/ 305912 h 604886"/>
                  <a:gd name="connsiteX7" fmla="*/ 324235 w 605804"/>
                  <a:gd name="connsiteY7" fmla="*/ 377951 h 604886"/>
                  <a:gd name="connsiteX8" fmla="*/ 281524 w 605804"/>
                  <a:gd name="connsiteY8" fmla="*/ 378137 h 604886"/>
                  <a:gd name="connsiteX9" fmla="*/ 223213 w 605804"/>
                  <a:gd name="connsiteY9" fmla="*/ 305912 h 604886"/>
                  <a:gd name="connsiteX10" fmla="*/ 206500 w 605804"/>
                  <a:gd name="connsiteY10" fmla="*/ 276985 h 604886"/>
                  <a:gd name="connsiteX11" fmla="*/ 214764 w 605804"/>
                  <a:gd name="connsiteY11" fmla="*/ 242588 h 604886"/>
                  <a:gd name="connsiteX12" fmla="*/ 211421 w 605804"/>
                  <a:gd name="connsiteY12" fmla="*/ 229979 h 604886"/>
                  <a:gd name="connsiteX13" fmla="*/ 211329 w 605804"/>
                  <a:gd name="connsiteY13" fmla="*/ 189834 h 604886"/>
                  <a:gd name="connsiteX14" fmla="*/ 234820 w 605804"/>
                  <a:gd name="connsiteY14" fmla="*/ 148669 h 604886"/>
                  <a:gd name="connsiteX15" fmla="*/ 256640 w 605804"/>
                  <a:gd name="connsiteY15" fmla="*/ 130775 h 604886"/>
                  <a:gd name="connsiteX16" fmla="*/ 277810 w 605804"/>
                  <a:gd name="connsiteY16" fmla="*/ 120020 h 604886"/>
                  <a:gd name="connsiteX17" fmla="*/ 297030 w 605804"/>
                  <a:gd name="connsiteY17" fmla="*/ 116311 h 604886"/>
                  <a:gd name="connsiteX18" fmla="*/ 302949 w 605804"/>
                  <a:gd name="connsiteY18" fmla="*/ 69342 h 604886"/>
                  <a:gd name="connsiteX19" fmla="*/ 69447 w 605804"/>
                  <a:gd name="connsiteY19" fmla="*/ 302489 h 604886"/>
                  <a:gd name="connsiteX20" fmla="*/ 116983 w 605804"/>
                  <a:gd name="connsiteY20" fmla="*/ 443490 h 604886"/>
                  <a:gd name="connsiteX21" fmla="*/ 149571 w 605804"/>
                  <a:gd name="connsiteY21" fmla="*/ 409654 h 604886"/>
                  <a:gd name="connsiteX22" fmla="*/ 235544 w 605804"/>
                  <a:gd name="connsiteY22" fmla="*/ 370441 h 604886"/>
                  <a:gd name="connsiteX23" fmla="*/ 265626 w 605804"/>
                  <a:gd name="connsiteY23" fmla="*/ 465368 h 604886"/>
                  <a:gd name="connsiteX24" fmla="*/ 271382 w 605804"/>
                  <a:gd name="connsiteY24" fmla="*/ 483260 h 604886"/>
                  <a:gd name="connsiteX25" fmla="*/ 271475 w 605804"/>
                  <a:gd name="connsiteY25" fmla="*/ 483074 h 604886"/>
                  <a:gd name="connsiteX26" fmla="*/ 276395 w 605804"/>
                  <a:gd name="connsiteY26" fmla="*/ 498278 h 604886"/>
                  <a:gd name="connsiteX27" fmla="*/ 292272 w 605804"/>
                  <a:gd name="connsiteY27" fmla="*/ 453410 h 604886"/>
                  <a:gd name="connsiteX28" fmla="*/ 302763 w 605804"/>
                  <a:gd name="connsiteY28" fmla="*/ 399735 h 604886"/>
                  <a:gd name="connsiteX29" fmla="*/ 313347 w 605804"/>
                  <a:gd name="connsiteY29" fmla="*/ 453410 h 604886"/>
                  <a:gd name="connsiteX30" fmla="*/ 329131 w 605804"/>
                  <a:gd name="connsiteY30" fmla="*/ 498278 h 604886"/>
                  <a:gd name="connsiteX31" fmla="*/ 334144 w 605804"/>
                  <a:gd name="connsiteY31" fmla="*/ 483074 h 604886"/>
                  <a:gd name="connsiteX32" fmla="*/ 334237 w 605804"/>
                  <a:gd name="connsiteY32" fmla="*/ 483260 h 604886"/>
                  <a:gd name="connsiteX33" fmla="*/ 339900 w 605804"/>
                  <a:gd name="connsiteY33" fmla="*/ 465368 h 604886"/>
                  <a:gd name="connsiteX34" fmla="*/ 369982 w 605804"/>
                  <a:gd name="connsiteY34" fmla="*/ 370441 h 604886"/>
                  <a:gd name="connsiteX35" fmla="*/ 456048 w 605804"/>
                  <a:gd name="connsiteY35" fmla="*/ 409654 h 604886"/>
                  <a:gd name="connsiteX36" fmla="*/ 488636 w 605804"/>
                  <a:gd name="connsiteY36" fmla="*/ 443490 h 604886"/>
                  <a:gd name="connsiteX37" fmla="*/ 536357 w 605804"/>
                  <a:gd name="connsiteY37" fmla="*/ 302489 h 604886"/>
                  <a:gd name="connsiteX38" fmla="*/ 302949 w 605804"/>
                  <a:gd name="connsiteY38" fmla="*/ 69342 h 604886"/>
                  <a:gd name="connsiteX39" fmla="*/ 302949 w 605804"/>
                  <a:gd name="connsiteY39" fmla="*/ 0 h 604886"/>
                  <a:gd name="connsiteX40" fmla="*/ 605804 w 605804"/>
                  <a:gd name="connsiteY40" fmla="*/ 302489 h 604886"/>
                  <a:gd name="connsiteX41" fmla="*/ 302949 w 605804"/>
                  <a:gd name="connsiteY41" fmla="*/ 604886 h 604886"/>
                  <a:gd name="connsiteX42" fmla="*/ 0 w 605804"/>
                  <a:gd name="connsiteY42" fmla="*/ 302489 h 604886"/>
                  <a:gd name="connsiteX43" fmla="*/ 302949 w 605804"/>
                  <a:gd name="connsiteY43" fmla="*/ 0 h 604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605804" h="604886">
                    <a:moveTo>
                      <a:pt x="297030" y="116311"/>
                    </a:moveTo>
                    <a:cubicBezTo>
                      <a:pt x="317921" y="114457"/>
                      <a:pt x="333799" y="119649"/>
                      <a:pt x="345126" y="126417"/>
                    </a:cubicBezTo>
                    <a:cubicBezTo>
                      <a:pt x="362211" y="135781"/>
                      <a:pt x="368711" y="148205"/>
                      <a:pt x="368711" y="148205"/>
                    </a:cubicBezTo>
                    <a:cubicBezTo>
                      <a:pt x="368711" y="148205"/>
                      <a:pt x="407522" y="150986"/>
                      <a:pt x="394430" y="229979"/>
                    </a:cubicBezTo>
                    <a:cubicBezTo>
                      <a:pt x="393687" y="234244"/>
                      <a:pt x="392573" y="238416"/>
                      <a:pt x="391088" y="242588"/>
                    </a:cubicBezTo>
                    <a:cubicBezTo>
                      <a:pt x="398887" y="242032"/>
                      <a:pt x="408079" y="246482"/>
                      <a:pt x="399351" y="276985"/>
                    </a:cubicBezTo>
                    <a:cubicBezTo>
                      <a:pt x="392945" y="299237"/>
                      <a:pt x="387095" y="305541"/>
                      <a:pt x="382638" y="305912"/>
                    </a:cubicBezTo>
                    <a:cubicBezTo>
                      <a:pt x="378553" y="332336"/>
                      <a:pt x="357383" y="365991"/>
                      <a:pt x="324235" y="377951"/>
                    </a:cubicBezTo>
                    <a:cubicBezTo>
                      <a:pt x="310493" y="382958"/>
                      <a:pt x="295358" y="382958"/>
                      <a:pt x="281524" y="378137"/>
                    </a:cubicBezTo>
                    <a:cubicBezTo>
                      <a:pt x="247726" y="366269"/>
                      <a:pt x="227299" y="332521"/>
                      <a:pt x="223213" y="305912"/>
                    </a:cubicBezTo>
                    <a:cubicBezTo>
                      <a:pt x="218757" y="305634"/>
                      <a:pt x="212814" y="299330"/>
                      <a:pt x="206500" y="276985"/>
                    </a:cubicBezTo>
                    <a:cubicBezTo>
                      <a:pt x="197865" y="246482"/>
                      <a:pt x="206965" y="241847"/>
                      <a:pt x="214764" y="242588"/>
                    </a:cubicBezTo>
                    <a:cubicBezTo>
                      <a:pt x="213278" y="238323"/>
                      <a:pt x="212164" y="234244"/>
                      <a:pt x="211421" y="229979"/>
                    </a:cubicBezTo>
                    <a:cubicBezTo>
                      <a:pt x="208729" y="215794"/>
                      <a:pt x="207986" y="202536"/>
                      <a:pt x="211329" y="189834"/>
                    </a:cubicBezTo>
                    <a:cubicBezTo>
                      <a:pt x="215321" y="172774"/>
                      <a:pt x="224606" y="159145"/>
                      <a:pt x="234820" y="148669"/>
                    </a:cubicBezTo>
                    <a:cubicBezTo>
                      <a:pt x="241412" y="141715"/>
                      <a:pt x="248840" y="135689"/>
                      <a:pt x="256640" y="130775"/>
                    </a:cubicBezTo>
                    <a:cubicBezTo>
                      <a:pt x="263046" y="126417"/>
                      <a:pt x="270103" y="122616"/>
                      <a:pt x="277810" y="120020"/>
                    </a:cubicBezTo>
                    <a:cubicBezTo>
                      <a:pt x="283752" y="117887"/>
                      <a:pt x="290159" y="116682"/>
                      <a:pt x="297030" y="116311"/>
                    </a:cubicBezTo>
                    <a:close/>
                    <a:moveTo>
                      <a:pt x="302949" y="69342"/>
                    </a:moveTo>
                    <a:cubicBezTo>
                      <a:pt x="174174" y="69342"/>
                      <a:pt x="69447" y="173911"/>
                      <a:pt x="69447" y="302489"/>
                    </a:cubicBezTo>
                    <a:cubicBezTo>
                      <a:pt x="69447" y="355515"/>
                      <a:pt x="87273" y="404277"/>
                      <a:pt x="116983" y="443490"/>
                    </a:cubicBezTo>
                    <a:cubicBezTo>
                      <a:pt x="121346" y="428380"/>
                      <a:pt x="130631" y="414474"/>
                      <a:pt x="149571" y="409654"/>
                    </a:cubicBezTo>
                    <a:cubicBezTo>
                      <a:pt x="197107" y="397510"/>
                      <a:pt x="235544" y="370441"/>
                      <a:pt x="235544" y="370441"/>
                    </a:cubicBezTo>
                    <a:lnTo>
                      <a:pt x="265626" y="465368"/>
                    </a:lnTo>
                    <a:lnTo>
                      <a:pt x="271382" y="483260"/>
                    </a:lnTo>
                    <a:lnTo>
                      <a:pt x="271475" y="483074"/>
                    </a:lnTo>
                    <a:lnTo>
                      <a:pt x="276395" y="498278"/>
                    </a:lnTo>
                    <a:lnTo>
                      <a:pt x="292272" y="453410"/>
                    </a:lnTo>
                    <a:cubicBezTo>
                      <a:pt x="253277" y="399086"/>
                      <a:pt x="300163" y="399642"/>
                      <a:pt x="302763" y="399735"/>
                    </a:cubicBezTo>
                    <a:cubicBezTo>
                      <a:pt x="305363" y="399642"/>
                      <a:pt x="352341" y="399086"/>
                      <a:pt x="313347" y="453410"/>
                    </a:cubicBezTo>
                    <a:lnTo>
                      <a:pt x="329131" y="498278"/>
                    </a:lnTo>
                    <a:lnTo>
                      <a:pt x="334144" y="483074"/>
                    </a:lnTo>
                    <a:lnTo>
                      <a:pt x="334237" y="483260"/>
                    </a:lnTo>
                    <a:lnTo>
                      <a:pt x="339900" y="465368"/>
                    </a:lnTo>
                    <a:lnTo>
                      <a:pt x="369982" y="370441"/>
                    </a:lnTo>
                    <a:cubicBezTo>
                      <a:pt x="369982" y="370441"/>
                      <a:pt x="408605" y="397602"/>
                      <a:pt x="456048" y="409654"/>
                    </a:cubicBezTo>
                    <a:cubicBezTo>
                      <a:pt x="475081" y="414474"/>
                      <a:pt x="484272" y="428380"/>
                      <a:pt x="488636" y="443490"/>
                    </a:cubicBezTo>
                    <a:cubicBezTo>
                      <a:pt x="518531" y="404277"/>
                      <a:pt x="536357" y="355515"/>
                      <a:pt x="536357" y="302489"/>
                    </a:cubicBezTo>
                    <a:cubicBezTo>
                      <a:pt x="536357" y="173911"/>
                      <a:pt x="431630" y="69342"/>
                      <a:pt x="302949" y="69342"/>
                    </a:cubicBezTo>
                    <a:close/>
                    <a:moveTo>
                      <a:pt x="302949" y="0"/>
                    </a:moveTo>
                    <a:cubicBezTo>
                      <a:pt x="469881" y="0"/>
                      <a:pt x="605804" y="135717"/>
                      <a:pt x="605804" y="302489"/>
                    </a:cubicBezTo>
                    <a:cubicBezTo>
                      <a:pt x="605804" y="469169"/>
                      <a:pt x="469881" y="604886"/>
                      <a:pt x="302949" y="604886"/>
                    </a:cubicBezTo>
                    <a:cubicBezTo>
                      <a:pt x="135923" y="604886"/>
                      <a:pt x="0" y="469169"/>
                      <a:pt x="0" y="302489"/>
                    </a:cubicBezTo>
                    <a:cubicBezTo>
                      <a:pt x="0" y="135717"/>
                      <a:pt x="135923" y="0"/>
                      <a:pt x="30294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03286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综述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762948" y="1465263"/>
            <a:ext cx="9755952" cy="4333875"/>
            <a:chOff x="1762948" y="1465263"/>
            <a:chExt cx="9755952" cy="4333875"/>
          </a:xfrm>
        </p:grpSpPr>
        <p:sp>
          <p:nvSpPr>
            <p:cNvPr id="6" name="任意多边形: 形状 5"/>
            <p:cNvSpPr/>
            <p:nvPr/>
          </p:nvSpPr>
          <p:spPr>
            <a:xfrm>
              <a:off x="1762948" y="1465263"/>
              <a:ext cx="2590800" cy="2590800"/>
            </a:xfrm>
            <a:custGeom>
              <a:avLst/>
              <a:gdLst>
                <a:gd name="connsiteX0" fmla="*/ 1295400 w 2590800"/>
                <a:gd name="connsiteY0" fmla="*/ 181116 h 2590800"/>
                <a:gd name="connsiteX1" fmla="*/ 181116 w 2590800"/>
                <a:gd name="connsiteY1" fmla="*/ 1295400 h 2590800"/>
                <a:gd name="connsiteX2" fmla="*/ 1295400 w 2590800"/>
                <a:gd name="connsiteY2" fmla="*/ 2409684 h 2590800"/>
                <a:gd name="connsiteX3" fmla="*/ 2409684 w 2590800"/>
                <a:gd name="connsiteY3" fmla="*/ 1295400 h 2590800"/>
                <a:gd name="connsiteX4" fmla="*/ 1295400 w 2590800"/>
                <a:gd name="connsiteY4" fmla="*/ 0 h 2590800"/>
                <a:gd name="connsiteX5" fmla="*/ 2590800 w 2590800"/>
                <a:gd name="connsiteY5" fmla="*/ 1295400 h 2590800"/>
                <a:gd name="connsiteX6" fmla="*/ 1295400 w 2590800"/>
                <a:gd name="connsiteY6" fmla="*/ 2590800 h 2590800"/>
                <a:gd name="connsiteX7" fmla="*/ 0 w 2590800"/>
                <a:gd name="connsiteY7" fmla="*/ 1295400 h 259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0800" h="2590800">
                  <a:moveTo>
                    <a:pt x="1295400" y="181116"/>
                  </a:moveTo>
                  <a:lnTo>
                    <a:pt x="181116" y="1295400"/>
                  </a:lnTo>
                  <a:lnTo>
                    <a:pt x="1295400" y="2409684"/>
                  </a:lnTo>
                  <a:lnTo>
                    <a:pt x="2409684" y="1295400"/>
                  </a:lnTo>
                  <a:close/>
                  <a:moveTo>
                    <a:pt x="1295400" y="0"/>
                  </a:moveTo>
                  <a:lnTo>
                    <a:pt x="2590800" y="1295400"/>
                  </a:lnTo>
                  <a:lnTo>
                    <a:pt x="1295400" y="2590800"/>
                  </a:lnTo>
                  <a:lnTo>
                    <a:pt x="0" y="12954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 sz="3600" b="1" dirty="0">
                <a:solidFill>
                  <a:schemeClr val="accent1"/>
                </a:solidFill>
              </a:endParaRPr>
            </a:p>
          </p:txBody>
        </p:sp>
        <p:sp>
          <p:nvSpPr>
            <p:cNvPr id="7" name="任意多边形: 形状 6"/>
            <p:cNvSpPr/>
            <p:nvPr/>
          </p:nvSpPr>
          <p:spPr>
            <a:xfrm>
              <a:off x="1762948" y="3208338"/>
              <a:ext cx="2590800" cy="2590800"/>
            </a:xfrm>
            <a:custGeom>
              <a:avLst/>
              <a:gdLst>
                <a:gd name="connsiteX0" fmla="*/ 1295400 w 2590800"/>
                <a:gd name="connsiteY0" fmla="*/ 181116 h 2590800"/>
                <a:gd name="connsiteX1" fmla="*/ 181116 w 2590800"/>
                <a:gd name="connsiteY1" fmla="*/ 1295400 h 2590800"/>
                <a:gd name="connsiteX2" fmla="*/ 1295400 w 2590800"/>
                <a:gd name="connsiteY2" fmla="*/ 2409684 h 2590800"/>
                <a:gd name="connsiteX3" fmla="*/ 2409684 w 2590800"/>
                <a:gd name="connsiteY3" fmla="*/ 1295400 h 2590800"/>
                <a:gd name="connsiteX4" fmla="*/ 1295400 w 2590800"/>
                <a:gd name="connsiteY4" fmla="*/ 0 h 2590800"/>
                <a:gd name="connsiteX5" fmla="*/ 2590800 w 2590800"/>
                <a:gd name="connsiteY5" fmla="*/ 1295400 h 2590800"/>
                <a:gd name="connsiteX6" fmla="*/ 1295400 w 2590800"/>
                <a:gd name="connsiteY6" fmla="*/ 2590800 h 2590800"/>
                <a:gd name="connsiteX7" fmla="*/ 0 w 2590800"/>
                <a:gd name="connsiteY7" fmla="*/ 1295400 h 259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0800" h="2590800">
                  <a:moveTo>
                    <a:pt x="1295400" y="181116"/>
                  </a:moveTo>
                  <a:lnTo>
                    <a:pt x="181116" y="1295400"/>
                  </a:lnTo>
                  <a:lnTo>
                    <a:pt x="1295400" y="2409684"/>
                  </a:lnTo>
                  <a:lnTo>
                    <a:pt x="2409684" y="1295400"/>
                  </a:lnTo>
                  <a:close/>
                  <a:moveTo>
                    <a:pt x="1295400" y="0"/>
                  </a:moveTo>
                  <a:lnTo>
                    <a:pt x="2590800" y="1295400"/>
                  </a:lnTo>
                  <a:lnTo>
                    <a:pt x="1295400" y="2590800"/>
                  </a:lnTo>
                  <a:lnTo>
                    <a:pt x="0" y="12954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 sz="3600" b="1" dirty="0">
                <a:solidFill>
                  <a:schemeClr val="accent1"/>
                </a:solidFill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4E9A126B-220C-4D25-BF8F-206546389E42}"/>
                </a:ext>
              </a:extLst>
            </p:cNvPr>
            <p:cNvSpPr/>
            <p:nvPr/>
          </p:nvSpPr>
          <p:spPr bwMode="auto">
            <a:xfrm>
              <a:off x="6470650" y="1681845"/>
              <a:ext cx="4162425" cy="705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400" dirty="0"/>
                <a:t>Copy paste fonts. Choose the </a:t>
              </a:r>
              <a:r>
                <a:rPr lang="en-US" altLang="zh-CN" sz="1400"/>
                <a:t>only optio</a:t>
              </a:r>
              <a:r>
                <a:rPr lang="en-US" altLang="zh-CN" sz="100"/>
                <a:t> </a:t>
              </a:r>
              <a:r>
                <a:rPr lang="en-US" altLang="zh-CN" sz="1400"/>
                <a:t>n </a:t>
              </a:r>
              <a:r>
                <a:rPr lang="en-US" altLang="zh-CN" sz="1400" dirty="0"/>
                <a:t>to retain text……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4E9A126B-220C-4D25-BF8F-206546389E42}"/>
                </a:ext>
              </a:extLst>
            </p:cNvPr>
            <p:cNvSpPr/>
            <p:nvPr/>
          </p:nvSpPr>
          <p:spPr bwMode="auto">
            <a:xfrm>
              <a:off x="6470650" y="2746982"/>
              <a:ext cx="4162425" cy="705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400" dirty="0"/>
                <a:t>Copy paste fonts. Choose the </a:t>
              </a:r>
              <a:r>
                <a:rPr lang="en-US" altLang="zh-CN" sz="1400"/>
                <a:t>only optio</a:t>
              </a:r>
              <a:r>
                <a:rPr lang="en-US" altLang="zh-CN" sz="100"/>
                <a:t> </a:t>
              </a:r>
              <a:r>
                <a:rPr lang="en-US" altLang="zh-CN" sz="1400"/>
                <a:t>n </a:t>
              </a:r>
              <a:r>
                <a:rPr lang="en-US" altLang="zh-CN" sz="1400" dirty="0"/>
                <a:t>to retain text……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4E9A126B-220C-4D25-BF8F-206546389E42}"/>
                </a:ext>
              </a:extLst>
            </p:cNvPr>
            <p:cNvSpPr/>
            <p:nvPr/>
          </p:nvSpPr>
          <p:spPr bwMode="auto">
            <a:xfrm>
              <a:off x="6470650" y="3812119"/>
              <a:ext cx="4162425" cy="705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400" dirty="0"/>
                <a:t>Copy paste fonts. Choose the </a:t>
              </a:r>
              <a:r>
                <a:rPr lang="en-US" altLang="zh-CN" sz="1400"/>
                <a:t>only optio</a:t>
              </a:r>
              <a:r>
                <a:rPr lang="en-US" altLang="zh-CN" sz="100"/>
                <a:t> </a:t>
              </a:r>
              <a:r>
                <a:rPr lang="en-US" altLang="zh-CN" sz="1400"/>
                <a:t>n </a:t>
              </a:r>
              <a:r>
                <a:rPr lang="en-US" altLang="zh-CN" sz="1400" dirty="0"/>
                <a:t>to retain text……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4E9A126B-220C-4D25-BF8F-206546389E42}"/>
                </a:ext>
              </a:extLst>
            </p:cNvPr>
            <p:cNvSpPr/>
            <p:nvPr/>
          </p:nvSpPr>
          <p:spPr bwMode="auto">
            <a:xfrm>
              <a:off x="6470650" y="4877258"/>
              <a:ext cx="4162425" cy="705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400" dirty="0"/>
                <a:t>Copy paste fonts. Choose the </a:t>
              </a:r>
              <a:r>
                <a:rPr lang="en-US" altLang="zh-CN" sz="1400"/>
                <a:t>only optio</a:t>
              </a:r>
              <a:r>
                <a:rPr lang="en-US" altLang="zh-CN" sz="100"/>
                <a:t> </a:t>
              </a:r>
              <a:r>
                <a:rPr lang="en-US" altLang="zh-CN" sz="1400"/>
                <a:t>n </a:t>
              </a:r>
              <a:r>
                <a:rPr lang="en-US" altLang="zh-CN" sz="1400" dirty="0"/>
                <a:t>to retain text……</a:t>
              </a:r>
            </a:p>
          </p:txBody>
        </p:sp>
        <p:cxnSp>
          <p:nvCxnSpPr>
            <p:cNvPr id="12" name="直接连接符 11"/>
            <p:cNvCxnSpPr/>
            <p:nvPr/>
          </p:nvCxnSpPr>
          <p:spPr>
            <a:xfrm>
              <a:off x="6572250" y="2567061"/>
              <a:ext cx="49466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>
              <a:cxnSpLocks/>
            </p:cNvCxnSpPr>
            <p:nvPr/>
          </p:nvCxnSpPr>
          <p:spPr>
            <a:xfrm>
              <a:off x="4005072" y="3632198"/>
              <a:ext cx="751382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6572250" y="4697335"/>
              <a:ext cx="49466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206DE48A-D052-4012-90DF-B2F859D613CC}"/>
                </a:ext>
              </a:extLst>
            </p:cNvPr>
            <p:cNvSpPr/>
            <p:nvPr/>
          </p:nvSpPr>
          <p:spPr>
            <a:xfrm>
              <a:off x="2811882" y="2347374"/>
              <a:ext cx="492932" cy="399608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1"/>
            </a:solidFill>
            <a:ln w="3175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F7DB43CE-9098-4025-84A5-F21AF12215C1}"/>
                </a:ext>
              </a:extLst>
            </p:cNvPr>
            <p:cNvSpPr/>
            <p:nvPr/>
          </p:nvSpPr>
          <p:spPr>
            <a:xfrm>
              <a:off x="2811882" y="4290253"/>
              <a:ext cx="492932" cy="399608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2"/>
            </a:solidFill>
            <a:ln w="3175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FC773752-FD69-4FC0-A9CB-106CA4F93468}"/>
                </a:ext>
              </a:extLst>
            </p:cNvPr>
            <p:cNvSpPr txBox="1"/>
            <p:nvPr/>
          </p:nvSpPr>
          <p:spPr bwMode="auto">
            <a:xfrm>
              <a:off x="4473824" y="2347374"/>
              <a:ext cx="1622176" cy="38055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</a:rPr>
                <a:t>…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综述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8578ADAE-C80E-4B2B-A5DD-65BD451591CA}"/>
                </a:ext>
              </a:extLst>
            </p:cNvPr>
            <p:cNvSpPr txBox="1"/>
            <p:nvPr/>
          </p:nvSpPr>
          <p:spPr bwMode="auto">
            <a:xfrm>
              <a:off x="4473824" y="4490057"/>
              <a:ext cx="1622176" cy="38055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</a:rPr>
                <a:t>…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综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428883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0e712830-8de9-4a9c-8288-fe16ef66e11e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67245D"/>
      </a:accent1>
      <a:accent2>
        <a:srgbClr val="986595"/>
      </a:accent2>
      <a:accent3>
        <a:srgbClr val="D4A1D1"/>
      </a:accent3>
      <a:accent4>
        <a:srgbClr val="272727"/>
      </a:accent4>
      <a:accent5>
        <a:srgbClr val="545454"/>
      </a:accent5>
      <a:accent6>
        <a:srgbClr val="808080"/>
      </a:accent6>
      <a:hlink>
        <a:srgbClr val="67245D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【20190416更新】主题设计标准-完整版.potx" id="{CEC5E909-CBB2-4933-951C-968AD9C49C0F}" vid="{29E3E208-87A9-4E6D-BED1-1B961AFC84E1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245D"/>
    </a:accent1>
    <a:accent2>
      <a:srgbClr val="986595"/>
    </a:accent2>
    <a:accent3>
      <a:srgbClr val="D4A1D1"/>
    </a:accent3>
    <a:accent4>
      <a:srgbClr val="272727"/>
    </a:accent4>
    <a:accent5>
      <a:srgbClr val="545454"/>
    </a:accent5>
    <a:accent6>
      <a:srgbClr val="808080"/>
    </a:accent6>
    <a:hlink>
      <a:srgbClr val="67245D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245D"/>
    </a:accent1>
    <a:accent2>
      <a:srgbClr val="986595"/>
    </a:accent2>
    <a:accent3>
      <a:srgbClr val="D4A1D1"/>
    </a:accent3>
    <a:accent4>
      <a:srgbClr val="272727"/>
    </a:accent4>
    <a:accent5>
      <a:srgbClr val="545454"/>
    </a:accent5>
    <a:accent6>
      <a:srgbClr val="808080"/>
    </a:accent6>
    <a:hlink>
      <a:srgbClr val="67245D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67245D"/>
    </a:accent1>
    <a:accent2>
      <a:srgbClr val="986595"/>
    </a:accent2>
    <a:accent3>
      <a:srgbClr val="D4A1D1"/>
    </a:accent3>
    <a:accent4>
      <a:srgbClr val="272727"/>
    </a:accent4>
    <a:accent5>
      <a:srgbClr val="545454"/>
    </a:accent5>
    <a:accent6>
      <a:srgbClr val="808080"/>
    </a:accent6>
    <a:hlink>
      <a:srgbClr val="67245D"/>
    </a:hlink>
    <a:folHlink>
      <a:srgbClr val="BFBFBF"/>
    </a:folHlink>
  </a:clrScheme>
</a:themeOverrid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1024</Words>
  <Application>Microsoft Office PowerPoint</Application>
  <PresentationFormat>宽屏</PresentationFormat>
  <Paragraphs>227</Paragraphs>
  <Slides>18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4" baseType="lpstr">
      <vt:lpstr>等线</vt:lpstr>
      <vt:lpstr>Arial</vt:lpstr>
      <vt:lpstr>Calibri</vt:lpstr>
      <vt:lpstr>Impact</vt:lpstr>
      <vt:lpstr>主题5</vt:lpstr>
      <vt:lpstr>think-cell Slide</vt:lpstr>
      <vt:lpstr>互联网宽带接入技术 及其工程实践研究</vt:lpstr>
      <vt:lpstr>PowerPoint 演示文稿</vt:lpstr>
      <vt:lpstr>选题目的与意义</vt:lpstr>
      <vt:lpstr>选题目的</vt:lpstr>
      <vt:lpstr>选题意义</vt:lpstr>
      <vt:lpstr>选题意义2</vt:lpstr>
      <vt:lpstr>论文综述</vt:lpstr>
      <vt:lpstr>论文综述</vt:lpstr>
      <vt:lpstr>论文综述</vt:lpstr>
      <vt:lpstr>论文综述</vt:lpstr>
      <vt:lpstr>研究方法及过程</vt:lpstr>
      <vt:lpstr>研究方法</vt:lpstr>
      <vt:lpstr>研究过程</vt:lpstr>
      <vt:lpstr>研究过程2</vt:lpstr>
      <vt:lpstr>论文总结</vt:lpstr>
      <vt:lpstr>论文总结</vt:lpstr>
      <vt:lpstr>论文总结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ide® PowerPoint standard template</dc:title>
  <dc:creator>iSlide</dc:creator>
  <cp:lastModifiedBy>Soleil Yi</cp:lastModifiedBy>
  <cp:revision>1</cp:revision>
  <cp:lastPrinted>2020-05-07T16:00:00Z</cp:lastPrinted>
  <dcterms:created xsi:type="dcterms:W3CDTF">2020-05-07T16:00:00Z</dcterms:created>
  <dcterms:modified xsi:type="dcterms:W3CDTF">2022-09-14T02:2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